
<file path=[Content_Types].xml><?xml version="1.0" encoding="utf-8"?>
<Types xmlns="http://schemas.openxmlformats.org/package/2006/content-types">
  <Default Extension="jpeg" ContentType="image/jpeg"/>
  <Default Extension="JPG" ContentType="image/.jpg"/>
  <Default Extension="vml" ContentType="application/vnd.openxmlformats-officedocument.vmlDrawing"/>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notesMasters/notesMaster1.xml" ContentType="application/vnd.openxmlformats-officedocument.presentationml.notesMaster+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12"/>
  </p:notesMasterIdLst>
  <p:sldIdLst>
    <p:sldId id="256" r:id="rId3"/>
    <p:sldId id="283" r:id="rId4"/>
    <p:sldId id="274" r:id="rId5"/>
    <p:sldId id="258" r:id="rId6"/>
    <p:sldId id="278" r:id="rId7"/>
    <p:sldId id="263" r:id="rId8"/>
    <p:sldId id="280" r:id="rId9"/>
    <p:sldId id="279" r:id="rId10"/>
    <p:sldId id="261" r:id="rId11"/>
  </p:sldIdLst>
  <p:sldSz cx="12192000" cy="6858000"/>
  <p:notesSz cx="6858000" cy="9144000"/>
  <p:custDataLst>
    <p:tags r:id="rId1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86483" autoAdjust="0"/>
  </p:normalViewPr>
  <p:slideViewPr>
    <p:cSldViewPr snapToGrid="0">
      <p:cViewPr varScale="1">
        <p:scale>
          <a:sx n="74" d="100"/>
          <a:sy n="74" d="100"/>
        </p:scale>
        <p:origin x="101" y="451"/>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9" Type="http://schemas.openxmlformats.org/officeDocument/2006/relationships/slide" Target="slides/slide7.xml"/><Relationship Id="rId8" Type="http://schemas.openxmlformats.org/officeDocument/2006/relationships/slide" Target="slides/slide6.xml"/><Relationship Id="rId7" Type="http://schemas.openxmlformats.org/officeDocument/2006/relationships/slide" Target="slides/slide5.xml"/><Relationship Id="rId6" Type="http://schemas.openxmlformats.org/officeDocument/2006/relationships/slide" Target="slides/slide4.xml"/><Relationship Id="rId5" Type="http://schemas.openxmlformats.org/officeDocument/2006/relationships/slide" Target="slides/slide3.xml"/><Relationship Id="rId4" Type="http://schemas.openxmlformats.org/officeDocument/2006/relationships/slide" Target="slides/slide2.xml"/><Relationship Id="rId3" Type="http://schemas.openxmlformats.org/officeDocument/2006/relationships/slide" Target="slides/slide1.xml"/><Relationship Id="rId2" Type="http://schemas.openxmlformats.org/officeDocument/2006/relationships/theme" Target="theme/theme1.xml"/><Relationship Id="rId16" Type="http://schemas.openxmlformats.org/officeDocument/2006/relationships/tags" Target="tags/tag1.xml"/><Relationship Id="rId15" Type="http://schemas.openxmlformats.org/officeDocument/2006/relationships/tableStyles" Target="tableStyles.xml"/><Relationship Id="rId14" Type="http://schemas.openxmlformats.org/officeDocument/2006/relationships/viewProps" Target="viewProps.xml"/><Relationship Id="rId13" Type="http://schemas.openxmlformats.org/officeDocument/2006/relationships/presProps" Target="presProps.xml"/><Relationship Id="rId12" Type="http://schemas.openxmlformats.org/officeDocument/2006/relationships/notesMaster" Target="notesMasters/notesMaster1.xml"/><Relationship Id="rId11" Type="http://schemas.openxmlformats.org/officeDocument/2006/relationships/slide" Target="slides/slide9.xml"/><Relationship Id="rId10" Type="http://schemas.openxmlformats.org/officeDocument/2006/relationships/slide" Target="slides/slide8.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59DB068-CF8E-4BF3-9801-8487C38D9258}"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B5A9EE7-F919-49E6-811C-24032ED4F740}"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showMasterSp="0">
  <p:cSld name="Title Slide">
    <p:bg>
      <p:bgRef idx="1001">
        <a:schemeClr val="bg1"/>
      </p:bgRef>
    </p:bg>
    <p:spTree>
      <p:nvGrpSpPr>
        <p:cNvPr id="1" name=""/>
        <p:cNvGrpSpPr/>
        <p:nvPr/>
      </p:nvGrpSpPr>
      <p:grpSpPr>
        <a:xfrm>
          <a:off x="0" y="0"/>
          <a:ext cx="0" cy="0"/>
          <a:chOff x="0" y="0"/>
          <a:chExt cx="0" cy="0"/>
        </a:xfrm>
      </p:grpSpPr>
      <p:grpSp>
        <p:nvGrpSpPr>
          <p:cNvPr id="3" name="组合 2"/>
          <p:cNvGrpSpPr/>
          <p:nvPr/>
        </p:nvGrpSpPr>
        <p:grpSpPr>
          <a:xfrm>
            <a:off x="0" y="0"/>
            <a:ext cx="12192000" cy="6858001"/>
            <a:chOff x="0" y="0"/>
            <a:chExt cx="12192000" cy="6858001"/>
          </a:xfrm>
        </p:grpSpPr>
        <p:grpSp>
          <p:nvGrpSpPr>
            <p:cNvPr id="111" name="组合 110"/>
            <p:cNvGrpSpPr/>
            <p:nvPr/>
          </p:nvGrpSpPr>
          <p:grpSpPr>
            <a:xfrm>
              <a:off x="0" y="0"/>
              <a:ext cx="12192000" cy="6858001"/>
              <a:chOff x="0" y="0"/>
              <a:chExt cx="12192000" cy="6858001"/>
            </a:xfrm>
          </p:grpSpPr>
          <p:sp>
            <p:nvSpPr>
              <p:cNvPr id="205" name="矩形 204"/>
              <p:cNvSpPr/>
              <p:nvPr/>
            </p:nvSpPr>
            <p:spPr>
              <a:xfrm>
                <a:off x="0" y="0"/>
                <a:ext cx="12192000" cy="6858000"/>
              </a:xfrm>
              <a:prstGeom prst="rect">
                <a:avLst/>
              </a:prstGeom>
              <a:blipFill>
                <a:blip r:embed="rId2"/>
                <a:srcRect/>
                <a:stretch>
                  <a:fillRect l="-8947" t="-12098" r="-11579" b="-7988"/>
                </a:stretch>
              </a:blipFill>
              <a:ln w="38100">
                <a:noFill/>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noAutofit/>
              </a:bodyPr>
              <a:lstStyle/>
              <a:p>
                <a:pPr lvl="0" algn="ctr"/>
                <a:endParaRPr lang="zh-CN" altLang="en-US"/>
              </a:p>
            </p:txBody>
          </p:sp>
          <p:sp>
            <p:nvSpPr>
              <p:cNvPr id="206" name="矩形 205"/>
              <p:cNvSpPr/>
              <p:nvPr/>
            </p:nvSpPr>
            <p:spPr>
              <a:xfrm>
                <a:off x="0" y="0"/>
                <a:ext cx="12192000" cy="6858001"/>
              </a:xfrm>
              <a:prstGeom prst="rect">
                <a:avLst/>
              </a:prstGeom>
              <a:gradFill flip="none" rotWithShape="1">
                <a:gsLst>
                  <a:gs pos="10000">
                    <a:schemeClr val="accent1">
                      <a:lumMod val="50000"/>
                    </a:schemeClr>
                  </a:gs>
                  <a:gs pos="50000">
                    <a:schemeClr val="accent1">
                      <a:alpha val="80000"/>
                    </a:schemeClr>
                  </a:gs>
                  <a:gs pos="90000">
                    <a:schemeClr val="accent1">
                      <a:lumMod val="50000"/>
                    </a:schemeClr>
                  </a:gs>
                </a:gsLst>
                <a:lin ang="8100000" scaled="1"/>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zh-CN" altLang="en-US" dirty="0"/>
              </a:p>
            </p:txBody>
          </p:sp>
        </p:grpSp>
        <p:grpSp>
          <p:nvGrpSpPr>
            <p:cNvPr id="112" name="组合 111"/>
            <p:cNvGrpSpPr/>
            <p:nvPr/>
          </p:nvGrpSpPr>
          <p:grpSpPr>
            <a:xfrm>
              <a:off x="472134" y="577823"/>
              <a:ext cx="10778191" cy="4522946"/>
              <a:chOff x="1299801" y="1073727"/>
              <a:chExt cx="9683941" cy="4063756"/>
            </a:xfrm>
          </p:grpSpPr>
          <p:sp>
            <p:nvSpPr>
              <p:cNvPr id="198" name="椭圆 197"/>
              <p:cNvSpPr/>
              <p:nvPr/>
            </p:nvSpPr>
            <p:spPr>
              <a:xfrm>
                <a:off x="2726281" y="2025266"/>
                <a:ext cx="706799" cy="706799"/>
              </a:xfrm>
              <a:prstGeom prst="ellipse">
                <a:avLst/>
              </a:prstGeom>
              <a:solidFill>
                <a:schemeClr val="accent2">
                  <a:alpha val="30000"/>
                </a:schemeClr>
              </a:solidFill>
              <a:ln w="3175">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9" name="椭圆 198"/>
              <p:cNvSpPr/>
              <p:nvPr/>
            </p:nvSpPr>
            <p:spPr>
              <a:xfrm>
                <a:off x="7453590" y="1073727"/>
                <a:ext cx="1207736" cy="1207736"/>
              </a:xfrm>
              <a:prstGeom prst="ellipse">
                <a:avLst/>
              </a:prstGeom>
              <a:solidFill>
                <a:schemeClr val="accent3">
                  <a:alpha val="20000"/>
                </a:schemeClr>
              </a:solidFill>
              <a:ln w="3175">
                <a:noFill/>
              </a:ln>
              <a:effectLst>
                <a:softEdge rad="254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0" name="椭圆 199"/>
              <p:cNvSpPr/>
              <p:nvPr/>
            </p:nvSpPr>
            <p:spPr>
              <a:xfrm>
                <a:off x="9444710" y="4691261"/>
                <a:ext cx="446222" cy="446222"/>
              </a:xfrm>
              <a:prstGeom prst="ellipse">
                <a:avLst/>
              </a:prstGeom>
              <a:solidFill>
                <a:schemeClr val="accent2">
                  <a:alpha val="50000"/>
                </a:schemeClr>
              </a:solidFill>
              <a:ln w="3175">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1" name="椭圆 200"/>
              <p:cNvSpPr/>
              <p:nvPr/>
            </p:nvSpPr>
            <p:spPr>
              <a:xfrm>
                <a:off x="10122261" y="3239619"/>
                <a:ext cx="861481" cy="861481"/>
              </a:xfrm>
              <a:prstGeom prst="ellipse">
                <a:avLst/>
              </a:prstGeom>
              <a:solidFill>
                <a:schemeClr val="accent2">
                  <a:alpha val="20000"/>
                </a:schemeClr>
              </a:solidFill>
              <a:ln w="3175">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2" name="椭圆 201"/>
              <p:cNvSpPr/>
              <p:nvPr/>
            </p:nvSpPr>
            <p:spPr>
              <a:xfrm>
                <a:off x="10122263" y="3814606"/>
                <a:ext cx="347743" cy="347743"/>
              </a:xfrm>
              <a:prstGeom prst="ellipse">
                <a:avLst/>
              </a:prstGeom>
              <a:solidFill>
                <a:schemeClr val="accent3">
                  <a:alpha val="45000"/>
                </a:schemeClr>
              </a:solidFill>
              <a:ln w="3175">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3" name="椭圆 202"/>
              <p:cNvSpPr/>
              <p:nvPr/>
            </p:nvSpPr>
            <p:spPr>
              <a:xfrm>
                <a:off x="2129470" y="4471947"/>
                <a:ext cx="334169" cy="334169"/>
              </a:xfrm>
              <a:prstGeom prst="ellipse">
                <a:avLst/>
              </a:prstGeom>
              <a:solidFill>
                <a:schemeClr val="accent3">
                  <a:alpha val="40000"/>
                </a:schemeClr>
              </a:solidFill>
              <a:ln w="3175">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4" name="椭圆 203"/>
              <p:cNvSpPr/>
              <p:nvPr/>
            </p:nvSpPr>
            <p:spPr>
              <a:xfrm>
                <a:off x="1299801" y="3339670"/>
                <a:ext cx="1177662" cy="1177661"/>
              </a:xfrm>
              <a:prstGeom prst="ellipse">
                <a:avLst/>
              </a:prstGeom>
              <a:solidFill>
                <a:schemeClr val="accent1">
                  <a:alpha val="60000"/>
                </a:schemeClr>
              </a:solidFill>
              <a:ln w="3175">
                <a:noFill/>
              </a:ln>
              <a:effectLst>
                <a:softEdge rad="254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2" name="组合 1"/>
            <p:cNvGrpSpPr/>
            <p:nvPr/>
          </p:nvGrpSpPr>
          <p:grpSpPr>
            <a:xfrm>
              <a:off x="1105046" y="1207169"/>
              <a:ext cx="9981909" cy="4443663"/>
              <a:chOff x="1105046" y="1207169"/>
              <a:chExt cx="9981909" cy="4443663"/>
            </a:xfrm>
          </p:grpSpPr>
          <p:sp>
            <p:nvSpPr>
              <p:cNvPr id="115" name="任意多边形: 形状 114"/>
              <p:cNvSpPr/>
              <p:nvPr/>
            </p:nvSpPr>
            <p:spPr>
              <a:xfrm>
                <a:off x="4674680" y="5479294"/>
                <a:ext cx="2238169" cy="81685"/>
              </a:xfrm>
              <a:custGeom>
                <a:avLst/>
                <a:gdLst>
                  <a:gd name="connsiteX0" fmla="*/ 1304925 w 1304925"/>
                  <a:gd name="connsiteY0" fmla="*/ 47625 h 47625"/>
                  <a:gd name="connsiteX1" fmla="*/ 0 w 1304925"/>
                  <a:gd name="connsiteY1" fmla="*/ 47625 h 47625"/>
                  <a:gd name="connsiteX2" fmla="*/ 47625 w 1304925"/>
                  <a:gd name="connsiteY2" fmla="*/ 0 h 47625"/>
                  <a:gd name="connsiteX3" fmla="*/ 1304925 w 1304925"/>
                  <a:gd name="connsiteY3" fmla="*/ 0 h 47625"/>
                </a:gdLst>
                <a:ahLst/>
                <a:cxnLst>
                  <a:cxn ang="0">
                    <a:pos x="connsiteX0" y="connsiteY0"/>
                  </a:cxn>
                  <a:cxn ang="0">
                    <a:pos x="connsiteX1" y="connsiteY1"/>
                  </a:cxn>
                  <a:cxn ang="0">
                    <a:pos x="connsiteX2" y="connsiteY2"/>
                  </a:cxn>
                  <a:cxn ang="0">
                    <a:pos x="connsiteX3" y="connsiteY3"/>
                  </a:cxn>
                </a:cxnLst>
                <a:rect l="l" t="t" r="r" b="b"/>
                <a:pathLst>
                  <a:path w="1304925" h="47625">
                    <a:moveTo>
                      <a:pt x="1304925" y="47625"/>
                    </a:moveTo>
                    <a:lnTo>
                      <a:pt x="0" y="47625"/>
                    </a:lnTo>
                    <a:lnTo>
                      <a:pt x="47625" y="0"/>
                    </a:lnTo>
                    <a:lnTo>
                      <a:pt x="1304925" y="0"/>
                    </a:lnTo>
                    <a:close/>
                  </a:path>
                </a:pathLst>
              </a:custGeom>
              <a:gradFill flip="none" rotWithShape="1">
                <a:gsLst>
                  <a:gs pos="10000">
                    <a:schemeClr val="accent1">
                      <a:alpha val="0"/>
                    </a:schemeClr>
                  </a:gs>
                  <a:gs pos="100000">
                    <a:schemeClr val="accent2"/>
                  </a:gs>
                </a:gsLst>
                <a:lin ang="0" scaled="1"/>
                <a:tileRect/>
              </a:gradFill>
              <a:ln w="9525" cap="flat">
                <a:noFill/>
                <a:prstDash val="solid"/>
                <a:miter/>
              </a:ln>
            </p:spPr>
            <p:txBody>
              <a:bodyPr rtlCol="0" anchor="ctr"/>
              <a:lstStyle/>
              <a:p>
                <a:endParaRPr lang="zh-CN" altLang="en-US"/>
              </a:p>
            </p:txBody>
          </p:sp>
          <p:sp>
            <p:nvSpPr>
              <p:cNvPr id="116" name="任意多边形: 形状 115"/>
              <p:cNvSpPr/>
              <p:nvPr/>
            </p:nvSpPr>
            <p:spPr>
              <a:xfrm>
                <a:off x="7043546" y="5479294"/>
                <a:ext cx="1241612" cy="81685"/>
              </a:xfrm>
              <a:custGeom>
                <a:avLst/>
                <a:gdLst>
                  <a:gd name="connsiteX0" fmla="*/ 0 w 723900"/>
                  <a:gd name="connsiteY0" fmla="*/ 0 h 47625"/>
                  <a:gd name="connsiteX1" fmla="*/ 723900 w 723900"/>
                  <a:gd name="connsiteY1" fmla="*/ 0 h 47625"/>
                  <a:gd name="connsiteX2" fmla="*/ 723900 w 723900"/>
                  <a:gd name="connsiteY2" fmla="*/ 47625 h 47625"/>
                  <a:gd name="connsiteX3" fmla="*/ 0 w 723900"/>
                  <a:gd name="connsiteY3" fmla="*/ 47625 h 47625"/>
                </a:gdLst>
                <a:ahLst/>
                <a:cxnLst>
                  <a:cxn ang="0">
                    <a:pos x="connsiteX0" y="connsiteY0"/>
                  </a:cxn>
                  <a:cxn ang="0">
                    <a:pos x="connsiteX1" y="connsiteY1"/>
                  </a:cxn>
                  <a:cxn ang="0">
                    <a:pos x="connsiteX2" y="connsiteY2"/>
                  </a:cxn>
                  <a:cxn ang="0">
                    <a:pos x="connsiteX3" y="connsiteY3"/>
                  </a:cxn>
                </a:cxnLst>
                <a:rect l="l" t="t" r="r" b="b"/>
                <a:pathLst>
                  <a:path w="723900" h="47625">
                    <a:moveTo>
                      <a:pt x="0" y="0"/>
                    </a:moveTo>
                    <a:lnTo>
                      <a:pt x="723900" y="0"/>
                    </a:lnTo>
                    <a:lnTo>
                      <a:pt x="723900" y="47625"/>
                    </a:lnTo>
                    <a:lnTo>
                      <a:pt x="0" y="47625"/>
                    </a:lnTo>
                    <a:close/>
                  </a:path>
                </a:pathLst>
              </a:custGeom>
              <a:gradFill flip="none" rotWithShape="1">
                <a:gsLst>
                  <a:gs pos="10000">
                    <a:schemeClr val="accent1">
                      <a:alpha val="0"/>
                    </a:schemeClr>
                  </a:gs>
                  <a:gs pos="100000">
                    <a:schemeClr val="accent2"/>
                  </a:gs>
                </a:gsLst>
                <a:lin ang="0" scaled="1"/>
                <a:tileRect/>
              </a:gradFill>
              <a:ln w="9525" cap="flat">
                <a:noFill/>
                <a:prstDash val="solid"/>
                <a:miter/>
              </a:ln>
            </p:spPr>
            <p:txBody>
              <a:bodyPr rtlCol="0" anchor="ctr"/>
              <a:lstStyle/>
              <a:p>
                <a:endParaRPr lang="zh-CN" altLang="en-US"/>
              </a:p>
            </p:txBody>
          </p:sp>
          <p:sp>
            <p:nvSpPr>
              <p:cNvPr id="117" name="任意多边形: 形状 116"/>
              <p:cNvSpPr/>
              <p:nvPr/>
            </p:nvSpPr>
            <p:spPr>
              <a:xfrm>
                <a:off x="4748198" y="5266913"/>
                <a:ext cx="3561467" cy="16337"/>
              </a:xfrm>
              <a:custGeom>
                <a:avLst/>
                <a:gdLst>
                  <a:gd name="connsiteX0" fmla="*/ 0 w 2076450"/>
                  <a:gd name="connsiteY0" fmla="*/ 0 h 9525"/>
                  <a:gd name="connsiteX1" fmla="*/ 2076450 w 2076450"/>
                  <a:gd name="connsiteY1" fmla="*/ 0 h 9525"/>
                  <a:gd name="connsiteX2" fmla="*/ 2076450 w 2076450"/>
                  <a:gd name="connsiteY2" fmla="*/ 9525 h 9525"/>
                  <a:gd name="connsiteX3" fmla="*/ 0 w 2076450"/>
                  <a:gd name="connsiteY3" fmla="*/ 9525 h 9525"/>
                </a:gdLst>
                <a:ahLst/>
                <a:cxnLst>
                  <a:cxn ang="0">
                    <a:pos x="connsiteX0" y="connsiteY0"/>
                  </a:cxn>
                  <a:cxn ang="0">
                    <a:pos x="connsiteX1" y="connsiteY1"/>
                  </a:cxn>
                  <a:cxn ang="0">
                    <a:pos x="connsiteX2" y="connsiteY2"/>
                  </a:cxn>
                  <a:cxn ang="0">
                    <a:pos x="connsiteX3" y="connsiteY3"/>
                  </a:cxn>
                </a:cxnLst>
                <a:rect l="l" t="t" r="r" b="b"/>
                <a:pathLst>
                  <a:path w="2076450" h="9525">
                    <a:moveTo>
                      <a:pt x="0" y="0"/>
                    </a:moveTo>
                    <a:lnTo>
                      <a:pt x="2076450" y="0"/>
                    </a:lnTo>
                    <a:lnTo>
                      <a:pt x="2076450" y="9525"/>
                    </a:lnTo>
                    <a:lnTo>
                      <a:pt x="0" y="9525"/>
                    </a:lnTo>
                    <a:close/>
                  </a:path>
                </a:pathLst>
              </a:custGeom>
              <a:solidFill>
                <a:schemeClr val="accent2">
                  <a:alpha val="50000"/>
                </a:schemeClr>
              </a:solidFill>
              <a:ln w="9525" cap="flat">
                <a:noFill/>
                <a:prstDash val="solid"/>
                <a:miter/>
              </a:ln>
            </p:spPr>
            <p:txBody>
              <a:bodyPr rtlCol="0" anchor="ctr"/>
              <a:lstStyle/>
              <a:p>
                <a:endParaRPr lang="zh-CN" altLang="en-US"/>
              </a:p>
            </p:txBody>
          </p:sp>
          <p:sp>
            <p:nvSpPr>
              <p:cNvPr id="118" name="任意多边形: 形状 117"/>
              <p:cNvSpPr/>
              <p:nvPr/>
            </p:nvSpPr>
            <p:spPr>
              <a:xfrm>
                <a:off x="4813546" y="5332261"/>
                <a:ext cx="326740" cy="65348"/>
              </a:xfrm>
              <a:custGeom>
                <a:avLst/>
                <a:gdLst>
                  <a:gd name="connsiteX0" fmla="*/ 38100 w 190500"/>
                  <a:gd name="connsiteY0" fmla="*/ 0 h 38100"/>
                  <a:gd name="connsiteX1" fmla="*/ 0 w 190500"/>
                  <a:gd name="connsiteY1" fmla="*/ 38100 h 38100"/>
                  <a:gd name="connsiteX2" fmla="*/ 190500 w 190500"/>
                  <a:gd name="connsiteY2" fmla="*/ 38100 h 38100"/>
                  <a:gd name="connsiteX3" fmla="*/ 190500 w 190500"/>
                  <a:gd name="connsiteY3" fmla="*/ 0 h 38100"/>
                  <a:gd name="connsiteX4" fmla="*/ 38100 w 190500"/>
                  <a:gd name="connsiteY4" fmla="*/ 0 h 38100"/>
                  <a:gd name="connsiteX5" fmla="*/ 180975 w 190500"/>
                  <a:gd name="connsiteY5" fmla="*/ 28575 h 38100"/>
                  <a:gd name="connsiteX6" fmla="*/ 28575 w 190500"/>
                  <a:gd name="connsiteY6" fmla="*/ 28575 h 38100"/>
                  <a:gd name="connsiteX7" fmla="*/ 47625 w 190500"/>
                  <a:gd name="connsiteY7" fmla="*/ 9525 h 38100"/>
                  <a:gd name="connsiteX8" fmla="*/ 180975 w 190500"/>
                  <a:gd name="connsiteY8" fmla="*/ 9525 h 38100"/>
                  <a:gd name="connsiteX9" fmla="*/ 180975 w 190500"/>
                  <a:gd name="connsiteY9" fmla="*/ 28575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500" h="38100">
                    <a:moveTo>
                      <a:pt x="38100" y="0"/>
                    </a:moveTo>
                    <a:lnTo>
                      <a:pt x="0" y="38100"/>
                    </a:lnTo>
                    <a:lnTo>
                      <a:pt x="190500" y="38100"/>
                    </a:lnTo>
                    <a:lnTo>
                      <a:pt x="190500" y="0"/>
                    </a:lnTo>
                    <a:lnTo>
                      <a:pt x="38100" y="0"/>
                    </a:lnTo>
                    <a:close/>
                    <a:moveTo>
                      <a:pt x="180975" y="28575"/>
                    </a:moveTo>
                    <a:lnTo>
                      <a:pt x="28575" y="28575"/>
                    </a:lnTo>
                    <a:lnTo>
                      <a:pt x="47625" y="9525"/>
                    </a:lnTo>
                    <a:lnTo>
                      <a:pt x="180975" y="9525"/>
                    </a:lnTo>
                    <a:lnTo>
                      <a:pt x="180975" y="28575"/>
                    </a:lnTo>
                    <a:close/>
                  </a:path>
                </a:pathLst>
              </a:custGeom>
              <a:solidFill>
                <a:schemeClr val="accent2"/>
              </a:solidFill>
              <a:ln w="9525" cap="flat">
                <a:noFill/>
                <a:prstDash val="solid"/>
                <a:miter/>
              </a:ln>
            </p:spPr>
            <p:txBody>
              <a:bodyPr rtlCol="0" anchor="ctr"/>
              <a:lstStyle/>
              <a:p>
                <a:endParaRPr lang="zh-CN" altLang="en-US"/>
              </a:p>
            </p:txBody>
          </p:sp>
          <p:sp>
            <p:nvSpPr>
              <p:cNvPr id="119" name="任意多边形: 形状 118"/>
              <p:cNvSpPr/>
              <p:nvPr/>
            </p:nvSpPr>
            <p:spPr>
              <a:xfrm>
                <a:off x="5537765" y="5332261"/>
                <a:ext cx="261392" cy="65348"/>
              </a:xfrm>
              <a:custGeom>
                <a:avLst/>
                <a:gdLst>
                  <a:gd name="connsiteX0" fmla="*/ 0 w 152400"/>
                  <a:gd name="connsiteY0" fmla="*/ 0 h 38100"/>
                  <a:gd name="connsiteX1" fmla="*/ 0 w 152400"/>
                  <a:gd name="connsiteY1" fmla="*/ 38100 h 38100"/>
                  <a:gd name="connsiteX2" fmla="*/ 152400 w 152400"/>
                  <a:gd name="connsiteY2" fmla="*/ 38100 h 38100"/>
                  <a:gd name="connsiteX3" fmla="*/ 152400 w 152400"/>
                  <a:gd name="connsiteY3" fmla="*/ 0 h 38100"/>
                  <a:gd name="connsiteX4" fmla="*/ 0 w 152400"/>
                  <a:gd name="connsiteY4" fmla="*/ 0 h 38100"/>
                  <a:gd name="connsiteX5" fmla="*/ 142875 w 152400"/>
                  <a:gd name="connsiteY5" fmla="*/ 28575 h 38100"/>
                  <a:gd name="connsiteX6" fmla="*/ 9525 w 152400"/>
                  <a:gd name="connsiteY6" fmla="*/ 28575 h 38100"/>
                  <a:gd name="connsiteX7" fmla="*/ 9525 w 152400"/>
                  <a:gd name="connsiteY7" fmla="*/ 9525 h 38100"/>
                  <a:gd name="connsiteX8" fmla="*/ 142875 w 152400"/>
                  <a:gd name="connsiteY8" fmla="*/ 9525 h 38100"/>
                  <a:gd name="connsiteX9" fmla="*/ 142875 w 152400"/>
                  <a:gd name="connsiteY9" fmla="*/ 28575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2400" h="38100">
                    <a:moveTo>
                      <a:pt x="0" y="0"/>
                    </a:moveTo>
                    <a:lnTo>
                      <a:pt x="0" y="38100"/>
                    </a:lnTo>
                    <a:lnTo>
                      <a:pt x="152400" y="38100"/>
                    </a:lnTo>
                    <a:lnTo>
                      <a:pt x="152400" y="0"/>
                    </a:lnTo>
                    <a:lnTo>
                      <a:pt x="0" y="0"/>
                    </a:lnTo>
                    <a:close/>
                    <a:moveTo>
                      <a:pt x="142875" y="28575"/>
                    </a:moveTo>
                    <a:lnTo>
                      <a:pt x="9525" y="28575"/>
                    </a:lnTo>
                    <a:lnTo>
                      <a:pt x="9525" y="9525"/>
                    </a:lnTo>
                    <a:lnTo>
                      <a:pt x="142875" y="9525"/>
                    </a:lnTo>
                    <a:lnTo>
                      <a:pt x="142875" y="28575"/>
                    </a:lnTo>
                    <a:close/>
                  </a:path>
                </a:pathLst>
              </a:custGeom>
              <a:solidFill>
                <a:schemeClr val="accent2"/>
              </a:solidFill>
              <a:ln w="9525" cap="flat">
                <a:noFill/>
                <a:prstDash val="solid"/>
                <a:miter/>
              </a:ln>
            </p:spPr>
            <p:txBody>
              <a:bodyPr rtlCol="0" anchor="ctr"/>
              <a:lstStyle/>
              <a:p>
                <a:endParaRPr lang="zh-CN" altLang="en-US"/>
              </a:p>
            </p:txBody>
          </p:sp>
          <p:sp>
            <p:nvSpPr>
              <p:cNvPr id="120" name="任意多边形: 形状 119"/>
              <p:cNvSpPr/>
              <p:nvPr/>
            </p:nvSpPr>
            <p:spPr>
              <a:xfrm>
                <a:off x="6196799" y="5332261"/>
                <a:ext cx="261392" cy="65348"/>
              </a:xfrm>
              <a:custGeom>
                <a:avLst/>
                <a:gdLst>
                  <a:gd name="connsiteX0" fmla="*/ 0 w 152400"/>
                  <a:gd name="connsiteY0" fmla="*/ 0 h 38100"/>
                  <a:gd name="connsiteX1" fmla="*/ 0 w 152400"/>
                  <a:gd name="connsiteY1" fmla="*/ 38100 h 38100"/>
                  <a:gd name="connsiteX2" fmla="*/ 152400 w 152400"/>
                  <a:gd name="connsiteY2" fmla="*/ 38100 h 38100"/>
                  <a:gd name="connsiteX3" fmla="*/ 152400 w 152400"/>
                  <a:gd name="connsiteY3" fmla="*/ 0 h 38100"/>
                  <a:gd name="connsiteX4" fmla="*/ 0 w 152400"/>
                  <a:gd name="connsiteY4" fmla="*/ 0 h 38100"/>
                  <a:gd name="connsiteX5" fmla="*/ 142875 w 152400"/>
                  <a:gd name="connsiteY5" fmla="*/ 28575 h 38100"/>
                  <a:gd name="connsiteX6" fmla="*/ 9525 w 152400"/>
                  <a:gd name="connsiteY6" fmla="*/ 28575 h 38100"/>
                  <a:gd name="connsiteX7" fmla="*/ 9525 w 152400"/>
                  <a:gd name="connsiteY7" fmla="*/ 9525 h 38100"/>
                  <a:gd name="connsiteX8" fmla="*/ 142875 w 152400"/>
                  <a:gd name="connsiteY8" fmla="*/ 9525 h 38100"/>
                  <a:gd name="connsiteX9" fmla="*/ 142875 w 152400"/>
                  <a:gd name="connsiteY9" fmla="*/ 28575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2400" h="38100">
                    <a:moveTo>
                      <a:pt x="0" y="0"/>
                    </a:moveTo>
                    <a:lnTo>
                      <a:pt x="0" y="38100"/>
                    </a:lnTo>
                    <a:lnTo>
                      <a:pt x="152400" y="38100"/>
                    </a:lnTo>
                    <a:lnTo>
                      <a:pt x="152400" y="0"/>
                    </a:lnTo>
                    <a:lnTo>
                      <a:pt x="0" y="0"/>
                    </a:lnTo>
                    <a:close/>
                    <a:moveTo>
                      <a:pt x="142875" y="28575"/>
                    </a:moveTo>
                    <a:lnTo>
                      <a:pt x="9525" y="28575"/>
                    </a:lnTo>
                    <a:lnTo>
                      <a:pt x="9525" y="9525"/>
                    </a:lnTo>
                    <a:lnTo>
                      <a:pt x="142875" y="9525"/>
                    </a:lnTo>
                    <a:lnTo>
                      <a:pt x="142875" y="28575"/>
                    </a:lnTo>
                    <a:close/>
                  </a:path>
                </a:pathLst>
              </a:custGeom>
              <a:solidFill>
                <a:schemeClr val="accent2"/>
              </a:solidFill>
              <a:ln w="9525" cap="flat">
                <a:noFill/>
                <a:prstDash val="solid"/>
                <a:miter/>
              </a:ln>
            </p:spPr>
            <p:txBody>
              <a:bodyPr rtlCol="0" anchor="ctr"/>
              <a:lstStyle/>
              <a:p>
                <a:endParaRPr lang="zh-CN" altLang="en-US"/>
              </a:p>
            </p:txBody>
          </p:sp>
          <p:sp>
            <p:nvSpPr>
              <p:cNvPr id="121" name="任意多边形: 形状 120"/>
              <p:cNvSpPr/>
              <p:nvPr/>
            </p:nvSpPr>
            <p:spPr>
              <a:xfrm>
                <a:off x="6855671" y="5332261"/>
                <a:ext cx="261392" cy="65348"/>
              </a:xfrm>
              <a:custGeom>
                <a:avLst/>
                <a:gdLst>
                  <a:gd name="connsiteX0" fmla="*/ 0 w 152400"/>
                  <a:gd name="connsiteY0" fmla="*/ 0 h 38100"/>
                  <a:gd name="connsiteX1" fmla="*/ 0 w 152400"/>
                  <a:gd name="connsiteY1" fmla="*/ 38100 h 38100"/>
                  <a:gd name="connsiteX2" fmla="*/ 152400 w 152400"/>
                  <a:gd name="connsiteY2" fmla="*/ 38100 h 38100"/>
                  <a:gd name="connsiteX3" fmla="*/ 152400 w 152400"/>
                  <a:gd name="connsiteY3" fmla="*/ 0 h 38100"/>
                  <a:gd name="connsiteX4" fmla="*/ 0 w 152400"/>
                  <a:gd name="connsiteY4" fmla="*/ 0 h 38100"/>
                  <a:gd name="connsiteX5" fmla="*/ 142875 w 152400"/>
                  <a:gd name="connsiteY5" fmla="*/ 28575 h 38100"/>
                  <a:gd name="connsiteX6" fmla="*/ 9525 w 152400"/>
                  <a:gd name="connsiteY6" fmla="*/ 28575 h 38100"/>
                  <a:gd name="connsiteX7" fmla="*/ 9525 w 152400"/>
                  <a:gd name="connsiteY7" fmla="*/ 9525 h 38100"/>
                  <a:gd name="connsiteX8" fmla="*/ 142875 w 152400"/>
                  <a:gd name="connsiteY8" fmla="*/ 9525 h 38100"/>
                  <a:gd name="connsiteX9" fmla="*/ 142875 w 152400"/>
                  <a:gd name="connsiteY9" fmla="*/ 28575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2400" h="38100">
                    <a:moveTo>
                      <a:pt x="0" y="0"/>
                    </a:moveTo>
                    <a:lnTo>
                      <a:pt x="0" y="38100"/>
                    </a:lnTo>
                    <a:lnTo>
                      <a:pt x="152400" y="38100"/>
                    </a:lnTo>
                    <a:lnTo>
                      <a:pt x="152400" y="0"/>
                    </a:lnTo>
                    <a:lnTo>
                      <a:pt x="0" y="0"/>
                    </a:lnTo>
                    <a:close/>
                    <a:moveTo>
                      <a:pt x="142875" y="28575"/>
                    </a:moveTo>
                    <a:lnTo>
                      <a:pt x="9525" y="28575"/>
                    </a:lnTo>
                    <a:lnTo>
                      <a:pt x="9525" y="9525"/>
                    </a:lnTo>
                    <a:lnTo>
                      <a:pt x="142875" y="9525"/>
                    </a:lnTo>
                    <a:lnTo>
                      <a:pt x="142875" y="28575"/>
                    </a:lnTo>
                    <a:close/>
                  </a:path>
                </a:pathLst>
              </a:custGeom>
              <a:solidFill>
                <a:schemeClr val="accent2"/>
              </a:solidFill>
              <a:ln w="9525" cap="flat">
                <a:noFill/>
                <a:prstDash val="solid"/>
                <a:miter/>
              </a:ln>
            </p:spPr>
            <p:txBody>
              <a:bodyPr rtlCol="0" anchor="ctr"/>
              <a:lstStyle/>
              <a:p>
                <a:endParaRPr lang="zh-CN" altLang="en-US"/>
              </a:p>
            </p:txBody>
          </p:sp>
          <p:sp>
            <p:nvSpPr>
              <p:cNvPr id="122" name="任意多边形: 形状 121"/>
              <p:cNvSpPr/>
              <p:nvPr/>
            </p:nvSpPr>
            <p:spPr>
              <a:xfrm>
                <a:off x="5208411" y="5332261"/>
                <a:ext cx="261390" cy="65348"/>
              </a:xfrm>
              <a:custGeom>
                <a:avLst/>
                <a:gdLst>
                  <a:gd name="connsiteX0" fmla="*/ 0 w 152399"/>
                  <a:gd name="connsiteY0" fmla="*/ 0 h 38100"/>
                  <a:gd name="connsiteX1" fmla="*/ 152400 w 152399"/>
                  <a:gd name="connsiteY1" fmla="*/ 0 h 38100"/>
                  <a:gd name="connsiteX2" fmla="*/ 152400 w 152399"/>
                  <a:gd name="connsiteY2" fmla="*/ 38100 h 38100"/>
                  <a:gd name="connsiteX3" fmla="*/ 0 w 152399"/>
                  <a:gd name="connsiteY3" fmla="*/ 38100 h 38100"/>
                </a:gdLst>
                <a:ahLst/>
                <a:cxnLst>
                  <a:cxn ang="0">
                    <a:pos x="connsiteX0" y="connsiteY0"/>
                  </a:cxn>
                  <a:cxn ang="0">
                    <a:pos x="connsiteX1" y="connsiteY1"/>
                  </a:cxn>
                  <a:cxn ang="0">
                    <a:pos x="connsiteX2" y="connsiteY2"/>
                  </a:cxn>
                  <a:cxn ang="0">
                    <a:pos x="connsiteX3" y="connsiteY3"/>
                  </a:cxn>
                </a:cxnLst>
                <a:rect l="l" t="t" r="r" b="b"/>
                <a:pathLst>
                  <a:path w="152399" h="38100">
                    <a:moveTo>
                      <a:pt x="0" y="0"/>
                    </a:moveTo>
                    <a:lnTo>
                      <a:pt x="152400" y="0"/>
                    </a:lnTo>
                    <a:lnTo>
                      <a:pt x="152400" y="38100"/>
                    </a:lnTo>
                    <a:lnTo>
                      <a:pt x="0" y="38100"/>
                    </a:lnTo>
                    <a:close/>
                  </a:path>
                </a:pathLst>
              </a:custGeom>
              <a:solidFill>
                <a:schemeClr val="accent2">
                  <a:alpha val="50000"/>
                </a:schemeClr>
              </a:solidFill>
              <a:ln w="9525" cap="flat">
                <a:noFill/>
                <a:prstDash val="solid"/>
                <a:miter/>
              </a:ln>
            </p:spPr>
            <p:txBody>
              <a:bodyPr rtlCol="0" anchor="ctr"/>
              <a:lstStyle/>
              <a:p>
                <a:endParaRPr lang="zh-CN" altLang="en-US"/>
              </a:p>
            </p:txBody>
          </p:sp>
          <p:sp>
            <p:nvSpPr>
              <p:cNvPr id="123" name="任意多边形: 形状 122"/>
              <p:cNvSpPr/>
              <p:nvPr/>
            </p:nvSpPr>
            <p:spPr>
              <a:xfrm>
                <a:off x="5867282" y="5332261"/>
                <a:ext cx="261392" cy="65348"/>
              </a:xfrm>
              <a:custGeom>
                <a:avLst/>
                <a:gdLst>
                  <a:gd name="connsiteX0" fmla="*/ 0 w 152400"/>
                  <a:gd name="connsiteY0" fmla="*/ 0 h 38100"/>
                  <a:gd name="connsiteX1" fmla="*/ 152400 w 152400"/>
                  <a:gd name="connsiteY1" fmla="*/ 0 h 38100"/>
                  <a:gd name="connsiteX2" fmla="*/ 152400 w 152400"/>
                  <a:gd name="connsiteY2" fmla="*/ 38100 h 38100"/>
                  <a:gd name="connsiteX3" fmla="*/ 0 w 152400"/>
                  <a:gd name="connsiteY3" fmla="*/ 38100 h 38100"/>
                </a:gdLst>
                <a:ahLst/>
                <a:cxnLst>
                  <a:cxn ang="0">
                    <a:pos x="connsiteX0" y="connsiteY0"/>
                  </a:cxn>
                  <a:cxn ang="0">
                    <a:pos x="connsiteX1" y="connsiteY1"/>
                  </a:cxn>
                  <a:cxn ang="0">
                    <a:pos x="connsiteX2" y="connsiteY2"/>
                  </a:cxn>
                  <a:cxn ang="0">
                    <a:pos x="connsiteX3" y="connsiteY3"/>
                  </a:cxn>
                </a:cxnLst>
                <a:rect l="l" t="t" r="r" b="b"/>
                <a:pathLst>
                  <a:path w="152400" h="38100">
                    <a:moveTo>
                      <a:pt x="0" y="0"/>
                    </a:moveTo>
                    <a:lnTo>
                      <a:pt x="152400" y="0"/>
                    </a:lnTo>
                    <a:lnTo>
                      <a:pt x="152400" y="38100"/>
                    </a:lnTo>
                    <a:lnTo>
                      <a:pt x="0" y="38100"/>
                    </a:lnTo>
                    <a:close/>
                  </a:path>
                </a:pathLst>
              </a:custGeom>
              <a:solidFill>
                <a:schemeClr val="accent2">
                  <a:alpha val="50000"/>
                </a:schemeClr>
              </a:solidFill>
              <a:ln w="9525" cap="flat">
                <a:noFill/>
                <a:prstDash val="solid"/>
                <a:miter/>
              </a:ln>
            </p:spPr>
            <p:txBody>
              <a:bodyPr rtlCol="0" anchor="ctr"/>
              <a:lstStyle/>
              <a:p>
                <a:endParaRPr lang="zh-CN" altLang="en-US"/>
              </a:p>
            </p:txBody>
          </p:sp>
          <p:sp>
            <p:nvSpPr>
              <p:cNvPr id="124" name="任意多边形: 形状 123"/>
              <p:cNvSpPr/>
              <p:nvPr/>
            </p:nvSpPr>
            <p:spPr>
              <a:xfrm>
                <a:off x="6526153" y="5332261"/>
                <a:ext cx="261392" cy="65348"/>
              </a:xfrm>
              <a:custGeom>
                <a:avLst/>
                <a:gdLst>
                  <a:gd name="connsiteX0" fmla="*/ 0 w 152400"/>
                  <a:gd name="connsiteY0" fmla="*/ 0 h 38100"/>
                  <a:gd name="connsiteX1" fmla="*/ 152400 w 152400"/>
                  <a:gd name="connsiteY1" fmla="*/ 0 h 38100"/>
                  <a:gd name="connsiteX2" fmla="*/ 152400 w 152400"/>
                  <a:gd name="connsiteY2" fmla="*/ 38100 h 38100"/>
                  <a:gd name="connsiteX3" fmla="*/ 0 w 152400"/>
                  <a:gd name="connsiteY3" fmla="*/ 38100 h 38100"/>
                </a:gdLst>
                <a:ahLst/>
                <a:cxnLst>
                  <a:cxn ang="0">
                    <a:pos x="connsiteX0" y="connsiteY0"/>
                  </a:cxn>
                  <a:cxn ang="0">
                    <a:pos x="connsiteX1" y="connsiteY1"/>
                  </a:cxn>
                  <a:cxn ang="0">
                    <a:pos x="connsiteX2" y="connsiteY2"/>
                  </a:cxn>
                  <a:cxn ang="0">
                    <a:pos x="connsiteX3" y="connsiteY3"/>
                  </a:cxn>
                </a:cxnLst>
                <a:rect l="l" t="t" r="r" b="b"/>
                <a:pathLst>
                  <a:path w="152400" h="38100">
                    <a:moveTo>
                      <a:pt x="0" y="0"/>
                    </a:moveTo>
                    <a:lnTo>
                      <a:pt x="152400" y="0"/>
                    </a:lnTo>
                    <a:lnTo>
                      <a:pt x="152400" y="38100"/>
                    </a:lnTo>
                    <a:lnTo>
                      <a:pt x="0" y="38100"/>
                    </a:lnTo>
                    <a:close/>
                  </a:path>
                </a:pathLst>
              </a:custGeom>
              <a:solidFill>
                <a:schemeClr val="accent2">
                  <a:alpha val="50000"/>
                </a:schemeClr>
              </a:solidFill>
              <a:ln w="9525" cap="flat">
                <a:noFill/>
                <a:prstDash val="solid"/>
                <a:miter/>
              </a:ln>
            </p:spPr>
            <p:txBody>
              <a:bodyPr rtlCol="0" anchor="ctr"/>
              <a:lstStyle/>
              <a:p>
                <a:endParaRPr lang="zh-CN" altLang="en-US"/>
              </a:p>
            </p:txBody>
          </p:sp>
          <p:grpSp>
            <p:nvGrpSpPr>
              <p:cNvPr id="125" name="组合 124"/>
              <p:cNvGrpSpPr/>
              <p:nvPr/>
            </p:nvGrpSpPr>
            <p:grpSpPr>
              <a:xfrm>
                <a:off x="7166074" y="5332261"/>
                <a:ext cx="1029231" cy="65348"/>
                <a:chOff x="6719887" y="4538662"/>
                <a:chExt cx="600075" cy="38100"/>
              </a:xfrm>
              <a:gradFill flip="none" rotWithShape="1">
                <a:gsLst>
                  <a:gs pos="0">
                    <a:schemeClr val="accent2"/>
                  </a:gs>
                  <a:gs pos="100000">
                    <a:schemeClr val="accent1">
                      <a:lumMod val="75000"/>
                      <a:alpha val="0"/>
                    </a:schemeClr>
                  </a:gs>
                </a:gsLst>
                <a:lin ang="0" scaled="1"/>
                <a:tileRect/>
              </a:gradFill>
            </p:grpSpPr>
            <p:sp>
              <p:nvSpPr>
                <p:cNvPr id="184" name="任意多边形: 形状 183"/>
                <p:cNvSpPr/>
                <p:nvPr/>
              </p:nvSpPr>
              <p:spPr>
                <a:xfrm>
                  <a:off x="6719887" y="4538662"/>
                  <a:ext cx="19050" cy="38100"/>
                </a:xfrm>
                <a:custGeom>
                  <a:avLst/>
                  <a:gdLst>
                    <a:gd name="connsiteX0" fmla="*/ 0 w 19050"/>
                    <a:gd name="connsiteY0" fmla="*/ 0 h 38100"/>
                    <a:gd name="connsiteX1" fmla="*/ 19050 w 19050"/>
                    <a:gd name="connsiteY1" fmla="*/ 0 h 38100"/>
                    <a:gd name="connsiteX2" fmla="*/ 19050 w 19050"/>
                    <a:gd name="connsiteY2" fmla="*/ 38100 h 38100"/>
                    <a:gd name="connsiteX3" fmla="*/ 0 w 19050"/>
                    <a:gd name="connsiteY3" fmla="*/ 38100 h 38100"/>
                  </a:gdLst>
                  <a:ahLst/>
                  <a:cxnLst>
                    <a:cxn ang="0">
                      <a:pos x="connsiteX0" y="connsiteY0"/>
                    </a:cxn>
                    <a:cxn ang="0">
                      <a:pos x="connsiteX1" y="connsiteY1"/>
                    </a:cxn>
                    <a:cxn ang="0">
                      <a:pos x="connsiteX2" y="connsiteY2"/>
                    </a:cxn>
                    <a:cxn ang="0">
                      <a:pos x="connsiteX3" y="connsiteY3"/>
                    </a:cxn>
                  </a:cxnLst>
                  <a:rect l="l" t="t" r="r" b="b"/>
                  <a:pathLst>
                    <a:path w="19050" h="38100">
                      <a:moveTo>
                        <a:pt x="0" y="0"/>
                      </a:moveTo>
                      <a:lnTo>
                        <a:pt x="19050" y="0"/>
                      </a:lnTo>
                      <a:lnTo>
                        <a:pt x="19050" y="38100"/>
                      </a:lnTo>
                      <a:lnTo>
                        <a:pt x="0" y="38100"/>
                      </a:lnTo>
                      <a:close/>
                    </a:path>
                  </a:pathLst>
                </a:custGeom>
                <a:grpFill/>
                <a:ln w="9525" cap="flat">
                  <a:noFill/>
                  <a:prstDash val="solid"/>
                  <a:miter/>
                </a:ln>
              </p:spPr>
              <p:txBody>
                <a:bodyPr rtlCol="0" anchor="ctr"/>
                <a:lstStyle/>
                <a:p>
                  <a:endParaRPr lang="zh-CN" altLang="en-US"/>
                </a:p>
              </p:txBody>
            </p:sp>
            <p:sp>
              <p:nvSpPr>
                <p:cNvPr id="185" name="任意多边形: 形状 184"/>
                <p:cNvSpPr/>
                <p:nvPr/>
              </p:nvSpPr>
              <p:spPr>
                <a:xfrm>
                  <a:off x="6764559" y="4538662"/>
                  <a:ext cx="19050" cy="38100"/>
                </a:xfrm>
                <a:custGeom>
                  <a:avLst/>
                  <a:gdLst>
                    <a:gd name="connsiteX0" fmla="*/ 0 w 19050"/>
                    <a:gd name="connsiteY0" fmla="*/ 0 h 38100"/>
                    <a:gd name="connsiteX1" fmla="*/ 19050 w 19050"/>
                    <a:gd name="connsiteY1" fmla="*/ 0 h 38100"/>
                    <a:gd name="connsiteX2" fmla="*/ 19050 w 19050"/>
                    <a:gd name="connsiteY2" fmla="*/ 38100 h 38100"/>
                    <a:gd name="connsiteX3" fmla="*/ 0 w 19050"/>
                    <a:gd name="connsiteY3" fmla="*/ 38100 h 38100"/>
                  </a:gdLst>
                  <a:ahLst/>
                  <a:cxnLst>
                    <a:cxn ang="0">
                      <a:pos x="connsiteX0" y="connsiteY0"/>
                    </a:cxn>
                    <a:cxn ang="0">
                      <a:pos x="connsiteX1" y="connsiteY1"/>
                    </a:cxn>
                    <a:cxn ang="0">
                      <a:pos x="connsiteX2" y="connsiteY2"/>
                    </a:cxn>
                    <a:cxn ang="0">
                      <a:pos x="connsiteX3" y="connsiteY3"/>
                    </a:cxn>
                  </a:cxnLst>
                  <a:rect l="l" t="t" r="r" b="b"/>
                  <a:pathLst>
                    <a:path w="19050" h="38100">
                      <a:moveTo>
                        <a:pt x="0" y="0"/>
                      </a:moveTo>
                      <a:lnTo>
                        <a:pt x="19050" y="0"/>
                      </a:lnTo>
                      <a:lnTo>
                        <a:pt x="19050" y="38100"/>
                      </a:lnTo>
                      <a:lnTo>
                        <a:pt x="0" y="38100"/>
                      </a:lnTo>
                      <a:close/>
                    </a:path>
                  </a:pathLst>
                </a:custGeom>
                <a:grpFill/>
                <a:ln w="9525" cap="flat">
                  <a:noFill/>
                  <a:prstDash val="solid"/>
                  <a:miter/>
                </a:ln>
              </p:spPr>
              <p:txBody>
                <a:bodyPr rtlCol="0" anchor="ctr"/>
                <a:lstStyle/>
                <a:p>
                  <a:endParaRPr lang="zh-CN" altLang="en-US"/>
                </a:p>
              </p:txBody>
            </p:sp>
            <p:sp>
              <p:nvSpPr>
                <p:cNvPr id="186" name="任意多边形: 形状 185"/>
                <p:cNvSpPr/>
                <p:nvPr/>
              </p:nvSpPr>
              <p:spPr>
                <a:xfrm>
                  <a:off x="6809231" y="4538662"/>
                  <a:ext cx="19050" cy="38100"/>
                </a:xfrm>
                <a:custGeom>
                  <a:avLst/>
                  <a:gdLst>
                    <a:gd name="connsiteX0" fmla="*/ 0 w 19050"/>
                    <a:gd name="connsiteY0" fmla="*/ 0 h 38100"/>
                    <a:gd name="connsiteX1" fmla="*/ 19050 w 19050"/>
                    <a:gd name="connsiteY1" fmla="*/ 0 h 38100"/>
                    <a:gd name="connsiteX2" fmla="*/ 19050 w 19050"/>
                    <a:gd name="connsiteY2" fmla="*/ 38100 h 38100"/>
                    <a:gd name="connsiteX3" fmla="*/ 0 w 19050"/>
                    <a:gd name="connsiteY3" fmla="*/ 38100 h 38100"/>
                  </a:gdLst>
                  <a:ahLst/>
                  <a:cxnLst>
                    <a:cxn ang="0">
                      <a:pos x="connsiteX0" y="connsiteY0"/>
                    </a:cxn>
                    <a:cxn ang="0">
                      <a:pos x="connsiteX1" y="connsiteY1"/>
                    </a:cxn>
                    <a:cxn ang="0">
                      <a:pos x="connsiteX2" y="connsiteY2"/>
                    </a:cxn>
                    <a:cxn ang="0">
                      <a:pos x="connsiteX3" y="connsiteY3"/>
                    </a:cxn>
                  </a:cxnLst>
                  <a:rect l="l" t="t" r="r" b="b"/>
                  <a:pathLst>
                    <a:path w="19050" h="38100">
                      <a:moveTo>
                        <a:pt x="0" y="0"/>
                      </a:moveTo>
                      <a:lnTo>
                        <a:pt x="19050" y="0"/>
                      </a:lnTo>
                      <a:lnTo>
                        <a:pt x="19050" y="38100"/>
                      </a:lnTo>
                      <a:lnTo>
                        <a:pt x="0" y="38100"/>
                      </a:lnTo>
                      <a:close/>
                    </a:path>
                  </a:pathLst>
                </a:custGeom>
                <a:grpFill/>
                <a:ln w="9525" cap="flat">
                  <a:noFill/>
                  <a:prstDash val="solid"/>
                  <a:miter/>
                </a:ln>
              </p:spPr>
              <p:txBody>
                <a:bodyPr rtlCol="0" anchor="ctr"/>
                <a:lstStyle/>
                <a:p>
                  <a:endParaRPr lang="zh-CN" altLang="en-US"/>
                </a:p>
              </p:txBody>
            </p:sp>
            <p:sp>
              <p:nvSpPr>
                <p:cNvPr id="187" name="任意多边形: 形状 186"/>
                <p:cNvSpPr/>
                <p:nvPr/>
              </p:nvSpPr>
              <p:spPr>
                <a:xfrm>
                  <a:off x="6853999" y="4538662"/>
                  <a:ext cx="19050" cy="38100"/>
                </a:xfrm>
                <a:custGeom>
                  <a:avLst/>
                  <a:gdLst>
                    <a:gd name="connsiteX0" fmla="*/ 0 w 19050"/>
                    <a:gd name="connsiteY0" fmla="*/ 0 h 38100"/>
                    <a:gd name="connsiteX1" fmla="*/ 19050 w 19050"/>
                    <a:gd name="connsiteY1" fmla="*/ 0 h 38100"/>
                    <a:gd name="connsiteX2" fmla="*/ 19050 w 19050"/>
                    <a:gd name="connsiteY2" fmla="*/ 38100 h 38100"/>
                    <a:gd name="connsiteX3" fmla="*/ 0 w 19050"/>
                    <a:gd name="connsiteY3" fmla="*/ 38100 h 38100"/>
                  </a:gdLst>
                  <a:ahLst/>
                  <a:cxnLst>
                    <a:cxn ang="0">
                      <a:pos x="connsiteX0" y="connsiteY0"/>
                    </a:cxn>
                    <a:cxn ang="0">
                      <a:pos x="connsiteX1" y="connsiteY1"/>
                    </a:cxn>
                    <a:cxn ang="0">
                      <a:pos x="connsiteX2" y="connsiteY2"/>
                    </a:cxn>
                    <a:cxn ang="0">
                      <a:pos x="connsiteX3" y="connsiteY3"/>
                    </a:cxn>
                  </a:cxnLst>
                  <a:rect l="l" t="t" r="r" b="b"/>
                  <a:pathLst>
                    <a:path w="19050" h="38100">
                      <a:moveTo>
                        <a:pt x="0" y="0"/>
                      </a:moveTo>
                      <a:lnTo>
                        <a:pt x="19050" y="0"/>
                      </a:lnTo>
                      <a:lnTo>
                        <a:pt x="19050" y="38100"/>
                      </a:lnTo>
                      <a:lnTo>
                        <a:pt x="0" y="38100"/>
                      </a:lnTo>
                      <a:close/>
                    </a:path>
                  </a:pathLst>
                </a:custGeom>
                <a:grpFill/>
                <a:ln w="9525" cap="flat">
                  <a:noFill/>
                  <a:prstDash val="solid"/>
                  <a:miter/>
                </a:ln>
              </p:spPr>
              <p:txBody>
                <a:bodyPr rtlCol="0" anchor="ctr"/>
                <a:lstStyle/>
                <a:p>
                  <a:endParaRPr lang="zh-CN" altLang="en-US"/>
                </a:p>
              </p:txBody>
            </p:sp>
            <p:sp>
              <p:nvSpPr>
                <p:cNvPr id="188" name="任意多边形: 形状 187"/>
                <p:cNvSpPr/>
                <p:nvPr/>
              </p:nvSpPr>
              <p:spPr>
                <a:xfrm>
                  <a:off x="6898671" y="4538662"/>
                  <a:ext cx="19050" cy="38100"/>
                </a:xfrm>
                <a:custGeom>
                  <a:avLst/>
                  <a:gdLst>
                    <a:gd name="connsiteX0" fmla="*/ 0 w 19050"/>
                    <a:gd name="connsiteY0" fmla="*/ 0 h 38100"/>
                    <a:gd name="connsiteX1" fmla="*/ 19050 w 19050"/>
                    <a:gd name="connsiteY1" fmla="*/ 0 h 38100"/>
                    <a:gd name="connsiteX2" fmla="*/ 19050 w 19050"/>
                    <a:gd name="connsiteY2" fmla="*/ 38100 h 38100"/>
                    <a:gd name="connsiteX3" fmla="*/ 0 w 19050"/>
                    <a:gd name="connsiteY3" fmla="*/ 38100 h 38100"/>
                  </a:gdLst>
                  <a:ahLst/>
                  <a:cxnLst>
                    <a:cxn ang="0">
                      <a:pos x="connsiteX0" y="connsiteY0"/>
                    </a:cxn>
                    <a:cxn ang="0">
                      <a:pos x="connsiteX1" y="connsiteY1"/>
                    </a:cxn>
                    <a:cxn ang="0">
                      <a:pos x="connsiteX2" y="connsiteY2"/>
                    </a:cxn>
                    <a:cxn ang="0">
                      <a:pos x="connsiteX3" y="connsiteY3"/>
                    </a:cxn>
                  </a:cxnLst>
                  <a:rect l="l" t="t" r="r" b="b"/>
                  <a:pathLst>
                    <a:path w="19050" h="38100">
                      <a:moveTo>
                        <a:pt x="0" y="0"/>
                      </a:moveTo>
                      <a:lnTo>
                        <a:pt x="19050" y="0"/>
                      </a:lnTo>
                      <a:lnTo>
                        <a:pt x="19050" y="38100"/>
                      </a:lnTo>
                      <a:lnTo>
                        <a:pt x="0" y="38100"/>
                      </a:lnTo>
                      <a:close/>
                    </a:path>
                  </a:pathLst>
                </a:custGeom>
                <a:grpFill/>
                <a:ln w="9525" cap="flat">
                  <a:noFill/>
                  <a:prstDash val="solid"/>
                  <a:miter/>
                </a:ln>
              </p:spPr>
              <p:txBody>
                <a:bodyPr rtlCol="0" anchor="ctr"/>
                <a:lstStyle/>
                <a:p>
                  <a:endParaRPr lang="zh-CN" altLang="en-US"/>
                </a:p>
              </p:txBody>
            </p:sp>
            <p:sp>
              <p:nvSpPr>
                <p:cNvPr id="189" name="任意多边形: 形状 188"/>
                <p:cNvSpPr/>
                <p:nvPr/>
              </p:nvSpPr>
              <p:spPr>
                <a:xfrm>
                  <a:off x="6943343" y="4538662"/>
                  <a:ext cx="19050" cy="38100"/>
                </a:xfrm>
                <a:custGeom>
                  <a:avLst/>
                  <a:gdLst>
                    <a:gd name="connsiteX0" fmla="*/ 0 w 19050"/>
                    <a:gd name="connsiteY0" fmla="*/ 0 h 38100"/>
                    <a:gd name="connsiteX1" fmla="*/ 19050 w 19050"/>
                    <a:gd name="connsiteY1" fmla="*/ 0 h 38100"/>
                    <a:gd name="connsiteX2" fmla="*/ 19050 w 19050"/>
                    <a:gd name="connsiteY2" fmla="*/ 38100 h 38100"/>
                    <a:gd name="connsiteX3" fmla="*/ 0 w 19050"/>
                    <a:gd name="connsiteY3" fmla="*/ 38100 h 38100"/>
                  </a:gdLst>
                  <a:ahLst/>
                  <a:cxnLst>
                    <a:cxn ang="0">
                      <a:pos x="connsiteX0" y="connsiteY0"/>
                    </a:cxn>
                    <a:cxn ang="0">
                      <a:pos x="connsiteX1" y="connsiteY1"/>
                    </a:cxn>
                    <a:cxn ang="0">
                      <a:pos x="connsiteX2" y="connsiteY2"/>
                    </a:cxn>
                    <a:cxn ang="0">
                      <a:pos x="connsiteX3" y="connsiteY3"/>
                    </a:cxn>
                  </a:cxnLst>
                  <a:rect l="l" t="t" r="r" b="b"/>
                  <a:pathLst>
                    <a:path w="19050" h="38100">
                      <a:moveTo>
                        <a:pt x="0" y="0"/>
                      </a:moveTo>
                      <a:lnTo>
                        <a:pt x="19050" y="0"/>
                      </a:lnTo>
                      <a:lnTo>
                        <a:pt x="19050" y="38100"/>
                      </a:lnTo>
                      <a:lnTo>
                        <a:pt x="0" y="38100"/>
                      </a:lnTo>
                      <a:close/>
                    </a:path>
                  </a:pathLst>
                </a:custGeom>
                <a:grpFill/>
                <a:ln w="9525" cap="flat">
                  <a:noFill/>
                  <a:prstDash val="solid"/>
                  <a:miter/>
                </a:ln>
              </p:spPr>
              <p:txBody>
                <a:bodyPr rtlCol="0" anchor="ctr"/>
                <a:lstStyle/>
                <a:p>
                  <a:endParaRPr lang="zh-CN" altLang="en-US"/>
                </a:p>
              </p:txBody>
            </p:sp>
            <p:sp>
              <p:nvSpPr>
                <p:cNvPr id="190" name="任意多边形: 形状 189"/>
                <p:cNvSpPr/>
                <p:nvPr/>
              </p:nvSpPr>
              <p:spPr>
                <a:xfrm>
                  <a:off x="6988015" y="4538662"/>
                  <a:ext cx="19050" cy="38100"/>
                </a:xfrm>
                <a:custGeom>
                  <a:avLst/>
                  <a:gdLst>
                    <a:gd name="connsiteX0" fmla="*/ 0 w 19050"/>
                    <a:gd name="connsiteY0" fmla="*/ 0 h 38100"/>
                    <a:gd name="connsiteX1" fmla="*/ 19050 w 19050"/>
                    <a:gd name="connsiteY1" fmla="*/ 0 h 38100"/>
                    <a:gd name="connsiteX2" fmla="*/ 19050 w 19050"/>
                    <a:gd name="connsiteY2" fmla="*/ 38100 h 38100"/>
                    <a:gd name="connsiteX3" fmla="*/ 0 w 19050"/>
                    <a:gd name="connsiteY3" fmla="*/ 38100 h 38100"/>
                  </a:gdLst>
                  <a:ahLst/>
                  <a:cxnLst>
                    <a:cxn ang="0">
                      <a:pos x="connsiteX0" y="connsiteY0"/>
                    </a:cxn>
                    <a:cxn ang="0">
                      <a:pos x="connsiteX1" y="connsiteY1"/>
                    </a:cxn>
                    <a:cxn ang="0">
                      <a:pos x="connsiteX2" y="connsiteY2"/>
                    </a:cxn>
                    <a:cxn ang="0">
                      <a:pos x="connsiteX3" y="connsiteY3"/>
                    </a:cxn>
                  </a:cxnLst>
                  <a:rect l="l" t="t" r="r" b="b"/>
                  <a:pathLst>
                    <a:path w="19050" h="38100">
                      <a:moveTo>
                        <a:pt x="0" y="0"/>
                      </a:moveTo>
                      <a:lnTo>
                        <a:pt x="19050" y="0"/>
                      </a:lnTo>
                      <a:lnTo>
                        <a:pt x="19050" y="38100"/>
                      </a:lnTo>
                      <a:lnTo>
                        <a:pt x="0" y="38100"/>
                      </a:lnTo>
                      <a:close/>
                    </a:path>
                  </a:pathLst>
                </a:custGeom>
                <a:grpFill/>
                <a:ln w="9525" cap="flat">
                  <a:noFill/>
                  <a:prstDash val="solid"/>
                  <a:miter/>
                </a:ln>
              </p:spPr>
              <p:txBody>
                <a:bodyPr rtlCol="0" anchor="ctr"/>
                <a:lstStyle/>
                <a:p>
                  <a:endParaRPr lang="zh-CN" altLang="en-US"/>
                </a:p>
              </p:txBody>
            </p:sp>
            <p:sp>
              <p:nvSpPr>
                <p:cNvPr id="191" name="任意多边形: 形状 190"/>
                <p:cNvSpPr/>
                <p:nvPr/>
              </p:nvSpPr>
              <p:spPr>
                <a:xfrm>
                  <a:off x="7032783" y="4538662"/>
                  <a:ext cx="19050" cy="38100"/>
                </a:xfrm>
                <a:custGeom>
                  <a:avLst/>
                  <a:gdLst>
                    <a:gd name="connsiteX0" fmla="*/ 0 w 19050"/>
                    <a:gd name="connsiteY0" fmla="*/ 0 h 38100"/>
                    <a:gd name="connsiteX1" fmla="*/ 19050 w 19050"/>
                    <a:gd name="connsiteY1" fmla="*/ 0 h 38100"/>
                    <a:gd name="connsiteX2" fmla="*/ 19050 w 19050"/>
                    <a:gd name="connsiteY2" fmla="*/ 38100 h 38100"/>
                    <a:gd name="connsiteX3" fmla="*/ 0 w 19050"/>
                    <a:gd name="connsiteY3" fmla="*/ 38100 h 38100"/>
                  </a:gdLst>
                  <a:ahLst/>
                  <a:cxnLst>
                    <a:cxn ang="0">
                      <a:pos x="connsiteX0" y="connsiteY0"/>
                    </a:cxn>
                    <a:cxn ang="0">
                      <a:pos x="connsiteX1" y="connsiteY1"/>
                    </a:cxn>
                    <a:cxn ang="0">
                      <a:pos x="connsiteX2" y="connsiteY2"/>
                    </a:cxn>
                    <a:cxn ang="0">
                      <a:pos x="connsiteX3" y="connsiteY3"/>
                    </a:cxn>
                  </a:cxnLst>
                  <a:rect l="l" t="t" r="r" b="b"/>
                  <a:pathLst>
                    <a:path w="19050" h="38100">
                      <a:moveTo>
                        <a:pt x="0" y="0"/>
                      </a:moveTo>
                      <a:lnTo>
                        <a:pt x="19050" y="0"/>
                      </a:lnTo>
                      <a:lnTo>
                        <a:pt x="19050" y="38100"/>
                      </a:lnTo>
                      <a:lnTo>
                        <a:pt x="0" y="38100"/>
                      </a:lnTo>
                      <a:close/>
                    </a:path>
                  </a:pathLst>
                </a:custGeom>
                <a:grpFill/>
                <a:ln w="9525" cap="flat">
                  <a:noFill/>
                  <a:prstDash val="solid"/>
                  <a:miter/>
                </a:ln>
              </p:spPr>
              <p:txBody>
                <a:bodyPr rtlCol="0" anchor="ctr"/>
                <a:lstStyle/>
                <a:p>
                  <a:endParaRPr lang="zh-CN" altLang="en-US"/>
                </a:p>
              </p:txBody>
            </p:sp>
            <p:sp>
              <p:nvSpPr>
                <p:cNvPr id="192" name="任意多边形: 形状 191"/>
                <p:cNvSpPr/>
                <p:nvPr/>
              </p:nvSpPr>
              <p:spPr>
                <a:xfrm>
                  <a:off x="7077455" y="4538662"/>
                  <a:ext cx="19050" cy="38100"/>
                </a:xfrm>
                <a:custGeom>
                  <a:avLst/>
                  <a:gdLst>
                    <a:gd name="connsiteX0" fmla="*/ 0 w 19050"/>
                    <a:gd name="connsiteY0" fmla="*/ 0 h 38100"/>
                    <a:gd name="connsiteX1" fmla="*/ 19050 w 19050"/>
                    <a:gd name="connsiteY1" fmla="*/ 0 h 38100"/>
                    <a:gd name="connsiteX2" fmla="*/ 19050 w 19050"/>
                    <a:gd name="connsiteY2" fmla="*/ 38100 h 38100"/>
                    <a:gd name="connsiteX3" fmla="*/ 0 w 19050"/>
                    <a:gd name="connsiteY3" fmla="*/ 38100 h 38100"/>
                  </a:gdLst>
                  <a:ahLst/>
                  <a:cxnLst>
                    <a:cxn ang="0">
                      <a:pos x="connsiteX0" y="connsiteY0"/>
                    </a:cxn>
                    <a:cxn ang="0">
                      <a:pos x="connsiteX1" y="connsiteY1"/>
                    </a:cxn>
                    <a:cxn ang="0">
                      <a:pos x="connsiteX2" y="connsiteY2"/>
                    </a:cxn>
                    <a:cxn ang="0">
                      <a:pos x="connsiteX3" y="connsiteY3"/>
                    </a:cxn>
                  </a:cxnLst>
                  <a:rect l="l" t="t" r="r" b="b"/>
                  <a:pathLst>
                    <a:path w="19050" h="38100">
                      <a:moveTo>
                        <a:pt x="0" y="0"/>
                      </a:moveTo>
                      <a:lnTo>
                        <a:pt x="19050" y="0"/>
                      </a:lnTo>
                      <a:lnTo>
                        <a:pt x="19050" y="38100"/>
                      </a:lnTo>
                      <a:lnTo>
                        <a:pt x="0" y="38100"/>
                      </a:lnTo>
                      <a:close/>
                    </a:path>
                  </a:pathLst>
                </a:custGeom>
                <a:grpFill/>
                <a:ln w="9525" cap="flat">
                  <a:noFill/>
                  <a:prstDash val="solid"/>
                  <a:miter/>
                </a:ln>
              </p:spPr>
              <p:txBody>
                <a:bodyPr rtlCol="0" anchor="ctr"/>
                <a:lstStyle/>
                <a:p>
                  <a:endParaRPr lang="zh-CN" altLang="en-US"/>
                </a:p>
              </p:txBody>
            </p:sp>
            <p:sp>
              <p:nvSpPr>
                <p:cNvPr id="193" name="任意多边形: 形状 192"/>
                <p:cNvSpPr/>
                <p:nvPr/>
              </p:nvSpPr>
              <p:spPr>
                <a:xfrm>
                  <a:off x="7122127" y="4538662"/>
                  <a:ext cx="19050" cy="38100"/>
                </a:xfrm>
                <a:custGeom>
                  <a:avLst/>
                  <a:gdLst>
                    <a:gd name="connsiteX0" fmla="*/ 0 w 19050"/>
                    <a:gd name="connsiteY0" fmla="*/ 0 h 38100"/>
                    <a:gd name="connsiteX1" fmla="*/ 19050 w 19050"/>
                    <a:gd name="connsiteY1" fmla="*/ 0 h 38100"/>
                    <a:gd name="connsiteX2" fmla="*/ 19050 w 19050"/>
                    <a:gd name="connsiteY2" fmla="*/ 38100 h 38100"/>
                    <a:gd name="connsiteX3" fmla="*/ 0 w 19050"/>
                    <a:gd name="connsiteY3" fmla="*/ 38100 h 38100"/>
                  </a:gdLst>
                  <a:ahLst/>
                  <a:cxnLst>
                    <a:cxn ang="0">
                      <a:pos x="connsiteX0" y="connsiteY0"/>
                    </a:cxn>
                    <a:cxn ang="0">
                      <a:pos x="connsiteX1" y="connsiteY1"/>
                    </a:cxn>
                    <a:cxn ang="0">
                      <a:pos x="connsiteX2" y="connsiteY2"/>
                    </a:cxn>
                    <a:cxn ang="0">
                      <a:pos x="connsiteX3" y="connsiteY3"/>
                    </a:cxn>
                  </a:cxnLst>
                  <a:rect l="l" t="t" r="r" b="b"/>
                  <a:pathLst>
                    <a:path w="19050" h="38100">
                      <a:moveTo>
                        <a:pt x="0" y="0"/>
                      </a:moveTo>
                      <a:lnTo>
                        <a:pt x="19050" y="0"/>
                      </a:lnTo>
                      <a:lnTo>
                        <a:pt x="19050" y="38100"/>
                      </a:lnTo>
                      <a:lnTo>
                        <a:pt x="0" y="38100"/>
                      </a:lnTo>
                      <a:close/>
                    </a:path>
                  </a:pathLst>
                </a:custGeom>
                <a:grpFill/>
                <a:ln w="9525" cap="flat">
                  <a:noFill/>
                  <a:prstDash val="solid"/>
                  <a:miter/>
                </a:ln>
              </p:spPr>
              <p:txBody>
                <a:bodyPr rtlCol="0" anchor="ctr"/>
                <a:lstStyle/>
                <a:p>
                  <a:endParaRPr lang="zh-CN" altLang="en-US"/>
                </a:p>
              </p:txBody>
            </p:sp>
            <p:sp>
              <p:nvSpPr>
                <p:cNvPr id="194" name="任意多边形: 形状 193"/>
                <p:cNvSpPr/>
                <p:nvPr/>
              </p:nvSpPr>
              <p:spPr>
                <a:xfrm>
                  <a:off x="7166800" y="4538662"/>
                  <a:ext cx="19050" cy="38100"/>
                </a:xfrm>
                <a:custGeom>
                  <a:avLst/>
                  <a:gdLst>
                    <a:gd name="connsiteX0" fmla="*/ 0 w 19050"/>
                    <a:gd name="connsiteY0" fmla="*/ 0 h 38100"/>
                    <a:gd name="connsiteX1" fmla="*/ 19050 w 19050"/>
                    <a:gd name="connsiteY1" fmla="*/ 0 h 38100"/>
                    <a:gd name="connsiteX2" fmla="*/ 19050 w 19050"/>
                    <a:gd name="connsiteY2" fmla="*/ 38100 h 38100"/>
                    <a:gd name="connsiteX3" fmla="*/ 0 w 19050"/>
                    <a:gd name="connsiteY3" fmla="*/ 38100 h 38100"/>
                  </a:gdLst>
                  <a:ahLst/>
                  <a:cxnLst>
                    <a:cxn ang="0">
                      <a:pos x="connsiteX0" y="connsiteY0"/>
                    </a:cxn>
                    <a:cxn ang="0">
                      <a:pos x="connsiteX1" y="connsiteY1"/>
                    </a:cxn>
                    <a:cxn ang="0">
                      <a:pos x="connsiteX2" y="connsiteY2"/>
                    </a:cxn>
                    <a:cxn ang="0">
                      <a:pos x="connsiteX3" y="connsiteY3"/>
                    </a:cxn>
                  </a:cxnLst>
                  <a:rect l="l" t="t" r="r" b="b"/>
                  <a:pathLst>
                    <a:path w="19050" h="38100">
                      <a:moveTo>
                        <a:pt x="0" y="0"/>
                      </a:moveTo>
                      <a:lnTo>
                        <a:pt x="19050" y="0"/>
                      </a:lnTo>
                      <a:lnTo>
                        <a:pt x="19050" y="38100"/>
                      </a:lnTo>
                      <a:lnTo>
                        <a:pt x="0" y="38100"/>
                      </a:lnTo>
                      <a:close/>
                    </a:path>
                  </a:pathLst>
                </a:custGeom>
                <a:grpFill/>
                <a:ln w="9525" cap="flat">
                  <a:noFill/>
                  <a:prstDash val="solid"/>
                  <a:miter/>
                </a:ln>
              </p:spPr>
              <p:txBody>
                <a:bodyPr rtlCol="0" anchor="ctr"/>
                <a:lstStyle/>
                <a:p>
                  <a:endParaRPr lang="zh-CN" altLang="en-US"/>
                </a:p>
              </p:txBody>
            </p:sp>
            <p:sp>
              <p:nvSpPr>
                <p:cNvPr id="195" name="任意多边形: 形状 194"/>
                <p:cNvSpPr/>
                <p:nvPr/>
              </p:nvSpPr>
              <p:spPr>
                <a:xfrm>
                  <a:off x="7211567" y="4538662"/>
                  <a:ext cx="19050" cy="38100"/>
                </a:xfrm>
                <a:custGeom>
                  <a:avLst/>
                  <a:gdLst>
                    <a:gd name="connsiteX0" fmla="*/ 0 w 19050"/>
                    <a:gd name="connsiteY0" fmla="*/ 0 h 38100"/>
                    <a:gd name="connsiteX1" fmla="*/ 19050 w 19050"/>
                    <a:gd name="connsiteY1" fmla="*/ 0 h 38100"/>
                    <a:gd name="connsiteX2" fmla="*/ 19050 w 19050"/>
                    <a:gd name="connsiteY2" fmla="*/ 38100 h 38100"/>
                    <a:gd name="connsiteX3" fmla="*/ 0 w 19050"/>
                    <a:gd name="connsiteY3" fmla="*/ 38100 h 38100"/>
                  </a:gdLst>
                  <a:ahLst/>
                  <a:cxnLst>
                    <a:cxn ang="0">
                      <a:pos x="connsiteX0" y="connsiteY0"/>
                    </a:cxn>
                    <a:cxn ang="0">
                      <a:pos x="connsiteX1" y="connsiteY1"/>
                    </a:cxn>
                    <a:cxn ang="0">
                      <a:pos x="connsiteX2" y="connsiteY2"/>
                    </a:cxn>
                    <a:cxn ang="0">
                      <a:pos x="connsiteX3" y="connsiteY3"/>
                    </a:cxn>
                  </a:cxnLst>
                  <a:rect l="l" t="t" r="r" b="b"/>
                  <a:pathLst>
                    <a:path w="19050" h="38100">
                      <a:moveTo>
                        <a:pt x="0" y="0"/>
                      </a:moveTo>
                      <a:lnTo>
                        <a:pt x="19050" y="0"/>
                      </a:lnTo>
                      <a:lnTo>
                        <a:pt x="19050" y="38100"/>
                      </a:lnTo>
                      <a:lnTo>
                        <a:pt x="0" y="38100"/>
                      </a:lnTo>
                      <a:close/>
                    </a:path>
                  </a:pathLst>
                </a:custGeom>
                <a:grpFill/>
                <a:ln w="9525" cap="flat">
                  <a:noFill/>
                  <a:prstDash val="solid"/>
                  <a:miter/>
                </a:ln>
              </p:spPr>
              <p:txBody>
                <a:bodyPr rtlCol="0" anchor="ctr"/>
                <a:lstStyle/>
                <a:p>
                  <a:endParaRPr lang="zh-CN" altLang="en-US"/>
                </a:p>
              </p:txBody>
            </p:sp>
            <p:sp>
              <p:nvSpPr>
                <p:cNvPr id="196" name="任意多边形: 形状 195"/>
                <p:cNvSpPr/>
                <p:nvPr/>
              </p:nvSpPr>
              <p:spPr>
                <a:xfrm>
                  <a:off x="7256239" y="4538662"/>
                  <a:ext cx="19050" cy="38100"/>
                </a:xfrm>
                <a:custGeom>
                  <a:avLst/>
                  <a:gdLst>
                    <a:gd name="connsiteX0" fmla="*/ 0 w 19050"/>
                    <a:gd name="connsiteY0" fmla="*/ 0 h 38100"/>
                    <a:gd name="connsiteX1" fmla="*/ 19050 w 19050"/>
                    <a:gd name="connsiteY1" fmla="*/ 0 h 38100"/>
                    <a:gd name="connsiteX2" fmla="*/ 19050 w 19050"/>
                    <a:gd name="connsiteY2" fmla="*/ 38100 h 38100"/>
                    <a:gd name="connsiteX3" fmla="*/ 0 w 19050"/>
                    <a:gd name="connsiteY3" fmla="*/ 38100 h 38100"/>
                  </a:gdLst>
                  <a:ahLst/>
                  <a:cxnLst>
                    <a:cxn ang="0">
                      <a:pos x="connsiteX0" y="connsiteY0"/>
                    </a:cxn>
                    <a:cxn ang="0">
                      <a:pos x="connsiteX1" y="connsiteY1"/>
                    </a:cxn>
                    <a:cxn ang="0">
                      <a:pos x="connsiteX2" y="connsiteY2"/>
                    </a:cxn>
                    <a:cxn ang="0">
                      <a:pos x="connsiteX3" y="connsiteY3"/>
                    </a:cxn>
                  </a:cxnLst>
                  <a:rect l="l" t="t" r="r" b="b"/>
                  <a:pathLst>
                    <a:path w="19050" h="38100">
                      <a:moveTo>
                        <a:pt x="0" y="0"/>
                      </a:moveTo>
                      <a:lnTo>
                        <a:pt x="19050" y="0"/>
                      </a:lnTo>
                      <a:lnTo>
                        <a:pt x="19050" y="38100"/>
                      </a:lnTo>
                      <a:lnTo>
                        <a:pt x="0" y="38100"/>
                      </a:lnTo>
                      <a:close/>
                    </a:path>
                  </a:pathLst>
                </a:custGeom>
                <a:grpFill/>
                <a:ln w="9525" cap="flat">
                  <a:noFill/>
                  <a:prstDash val="solid"/>
                  <a:miter/>
                </a:ln>
              </p:spPr>
              <p:txBody>
                <a:bodyPr rtlCol="0" anchor="ctr"/>
                <a:lstStyle/>
                <a:p>
                  <a:endParaRPr lang="zh-CN" altLang="en-US"/>
                </a:p>
              </p:txBody>
            </p:sp>
            <p:sp>
              <p:nvSpPr>
                <p:cNvPr id="197" name="任意多边形: 形状 196"/>
                <p:cNvSpPr/>
                <p:nvPr/>
              </p:nvSpPr>
              <p:spPr>
                <a:xfrm>
                  <a:off x="7300912" y="4538662"/>
                  <a:ext cx="19050" cy="38100"/>
                </a:xfrm>
                <a:custGeom>
                  <a:avLst/>
                  <a:gdLst>
                    <a:gd name="connsiteX0" fmla="*/ 0 w 19050"/>
                    <a:gd name="connsiteY0" fmla="*/ 0 h 38100"/>
                    <a:gd name="connsiteX1" fmla="*/ 19050 w 19050"/>
                    <a:gd name="connsiteY1" fmla="*/ 0 h 38100"/>
                    <a:gd name="connsiteX2" fmla="*/ 19050 w 19050"/>
                    <a:gd name="connsiteY2" fmla="*/ 38100 h 38100"/>
                    <a:gd name="connsiteX3" fmla="*/ 0 w 19050"/>
                    <a:gd name="connsiteY3" fmla="*/ 38100 h 38100"/>
                  </a:gdLst>
                  <a:ahLst/>
                  <a:cxnLst>
                    <a:cxn ang="0">
                      <a:pos x="connsiteX0" y="connsiteY0"/>
                    </a:cxn>
                    <a:cxn ang="0">
                      <a:pos x="connsiteX1" y="connsiteY1"/>
                    </a:cxn>
                    <a:cxn ang="0">
                      <a:pos x="connsiteX2" y="connsiteY2"/>
                    </a:cxn>
                    <a:cxn ang="0">
                      <a:pos x="connsiteX3" y="connsiteY3"/>
                    </a:cxn>
                  </a:cxnLst>
                  <a:rect l="l" t="t" r="r" b="b"/>
                  <a:pathLst>
                    <a:path w="19050" h="38100">
                      <a:moveTo>
                        <a:pt x="0" y="0"/>
                      </a:moveTo>
                      <a:lnTo>
                        <a:pt x="19050" y="0"/>
                      </a:lnTo>
                      <a:lnTo>
                        <a:pt x="19050" y="38100"/>
                      </a:lnTo>
                      <a:lnTo>
                        <a:pt x="0" y="38100"/>
                      </a:lnTo>
                      <a:close/>
                    </a:path>
                  </a:pathLst>
                </a:custGeom>
                <a:grpFill/>
                <a:ln w="9525" cap="flat">
                  <a:noFill/>
                  <a:prstDash val="solid"/>
                  <a:miter/>
                </a:ln>
              </p:spPr>
              <p:txBody>
                <a:bodyPr rtlCol="0" anchor="ctr"/>
                <a:lstStyle/>
                <a:p>
                  <a:endParaRPr lang="zh-CN" altLang="en-US"/>
                </a:p>
              </p:txBody>
            </p:sp>
          </p:grpSp>
          <p:sp>
            <p:nvSpPr>
              <p:cNvPr id="126" name="任意多边形: 形状 125"/>
              <p:cNvSpPr/>
              <p:nvPr/>
            </p:nvSpPr>
            <p:spPr>
              <a:xfrm>
                <a:off x="4650176" y="5471127"/>
                <a:ext cx="2270843" cy="98022"/>
              </a:xfrm>
              <a:custGeom>
                <a:avLst/>
                <a:gdLst>
                  <a:gd name="connsiteX0" fmla="*/ 57150 w 1323975"/>
                  <a:gd name="connsiteY0" fmla="*/ 0 h 57150"/>
                  <a:gd name="connsiteX1" fmla="*/ 0 w 1323975"/>
                  <a:gd name="connsiteY1" fmla="*/ 57150 h 57150"/>
                  <a:gd name="connsiteX2" fmla="*/ 1323975 w 1323975"/>
                  <a:gd name="connsiteY2" fmla="*/ 57150 h 57150"/>
                  <a:gd name="connsiteX3" fmla="*/ 1323975 w 1323975"/>
                  <a:gd name="connsiteY3" fmla="*/ 0 h 57150"/>
                  <a:gd name="connsiteX4" fmla="*/ 57150 w 1323975"/>
                  <a:gd name="connsiteY4" fmla="*/ 0 h 57150"/>
                  <a:gd name="connsiteX5" fmla="*/ 1314450 w 1323975"/>
                  <a:gd name="connsiteY5" fmla="*/ 47625 h 57150"/>
                  <a:gd name="connsiteX6" fmla="*/ 28575 w 1323975"/>
                  <a:gd name="connsiteY6" fmla="*/ 47625 h 57150"/>
                  <a:gd name="connsiteX7" fmla="*/ 66675 w 1323975"/>
                  <a:gd name="connsiteY7" fmla="*/ 9525 h 57150"/>
                  <a:gd name="connsiteX8" fmla="*/ 1314450 w 1323975"/>
                  <a:gd name="connsiteY8" fmla="*/ 9525 h 57150"/>
                  <a:gd name="connsiteX9" fmla="*/ 1314450 w 1323975"/>
                  <a:gd name="connsiteY9" fmla="*/ 47625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23975" h="57150">
                    <a:moveTo>
                      <a:pt x="57150" y="0"/>
                    </a:moveTo>
                    <a:lnTo>
                      <a:pt x="0" y="57150"/>
                    </a:lnTo>
                    <a:lnTo>
                      <a:pt x="1323975" y="57150"/>
                    </a:lnTo>
                    <a:lnTo>
                      <a:pt x="1323975" y="0"/>
                    </a:lnTo>
                    <a:lnTo>
                      <a:pt x="57150" y="0"/>
                    </a:lnTo>
                    <a:close/>
                    <a:moveTo>
                      <a:pt x="1314450" y="47625"/>
                    </a:moveTo>
                    <a:lnTo>
                      <a:pt x="28575" y="47625"/>
                    </a:lnTo>
                    <a:lnTo>
                      <a:pt x="66675" y="9525"/>
                    </a:lnTo>
                    <a:lnTo>
                      <a:pt x="1314450" y="9525"/>
                    </a:lnTo>
                    <a:lnTo>
                      <a:pt x="1314450" y="47625"/>
                    </a:lnTo>
                    <a:close/>
                  </a:path>
                </a:pathLst>
              </a:custGeom>
              <a:solidFill>
                <a:schemeClr val="accent2"/>
              </a:solidFill>
              <a:ln w="9525" cap="flat">
                <a:noFill/>
                <a:prstDash val="solid"/>
                <a:miter/>
              </a:ln>
            </p:spPr>
            <p:txBody>
              <a:bodyPr rtlCol="0" anchor="ctr"/>
              <a:lstStyle/>
              <a:p>
                <a:endParaRPr lang="zh-CN" altLang="en-US"/>
              </a:p>
            </p:txBody>
          </p:sp>
          <p:sp>
            <p:nvSpPr>
              <p:cNvPr id="127" name="任意多边形: 形状 126"/>
              <p:cNvSpPr/>
              <p:nvPr/>
            </p:nvSpPr>
            <p:spPr>
              <a:xfrm>
                <a:off x="7035378" y="5471127"/>
                <a:ext cx="1257949" cy="98022"/>
              </a:xfrm>
              <a:custGeom>
                <a:avLst/>
                <a:gdLst>
                  <a:gd name="connsiteX0" fmla="*/ 0 w 733425"/>
                  <a:gd name="connsiteY0" fmla="*/ 0 h 57150"/>
                  <a:gd name="connsiteX1" fmla="*/ 0 w 733425"/>
                  <a:gd name="connsiteY1" fmla="*/ 57150 h 57150"/>
                  <a:gd name="connsiteX2" fmla="*/ 733425 w 733425"/>
                  <a:gd name="connsiteY2" fmla="*/ 57150 h 57150"/>
                  <a:gd name="connsiteX3" fmla="*/ 733425 w 733425"/>
                  <a:gd name="connsiteY3" fmla="*/ 0 h 57150"/>
                  <a:gd name="connsiteX4" fmla="*/ 0 w 733425"/>
                  <a:gd name="connsiteY4" fmla="*/ 0 h 57150"/>
                  <a:gd name="connsiteX5" fmla="*/ 723900 w 733425"/>
                  <a:gd name="connsiteY5" fmla="*/ 47625 h 57150"/>
                  <a:gd name="connsiteX6" fmla="*/ 9525 w 733425"/>
                  <a:gd name="connsiteY6" fmla="*/ 47625 h 57150"/>
                  <a:gd name="connsiteX7" fmla="*/ 9525 w 733425"/>
                  <a:gd name="connsiteY7" fmla="*/ 9525 h 57150"/>
                  <a:gd name="connsiteX8" fmla="*/ 723900 w 733425"/>
                  <a:gd name="connsiteY8" fmla="*/ 9525 h 57150"/>
                  <a:gd name="connsiteX9" fmla="*/ 723900 w 733425"/>
                  <a:gd name="connsiteY9" fmla="*/ 47625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33425" h="57150">
                    <a:moveTo>
                      <a:pt x="0" y="0"/>
                    </a:moveTo>
                    <a:lnTo>
                      <a:pt x="0" y="57150"/>
                    </a:lnTo>
                    <a:lnTo>
                      <a:pt x="733425" y="57150"/>
                    </a:lnTo>
                    <a:lnTo>
                      <a:pt x="733425" y="0"/>
                    </a:lnTo>
                    <a:lnTo>
                      <a:pt x="0" y="0"/>
                    </a:lnTo>
                    <a:close/>
                    <a:moveTo>
                      <a:pt x="723900" y="47625"/>
                    </a:moveTo>
                    <a:lnTo>
                      <a:pt x="9525" y="47625"/>
                    </a:lnTo>
                    <a:lnTo>
                      <a:pt x="9525" y="9525"/>
                    </a:lnTo>
                    <a:lnTo>
                      <a:pt x="723900" y="9525"/>
                    </a:lnTo>
                    <a:lnTo>
                      <a:pt x="723900" y="47625"/>
                    </a:lnTo>
                    <a:close/>
                  </a:path>
                </a:pathLst>
              </a:custGeom>
              <a:solidFill>
                <a:schemeClr val="accent2"/>
              </a:solidFill>
              <a:ln w="9525" cap="flat">
                <a:noFill/>
                <a:prstDash val="solid"/>
                <a:miter/>
              </a:ln>
            </p:spPr>
            <p:txBody>
              <a:bodyPr rtlCol="0" anchor="ctr"/>
              <a:lstStyle/>
              <a:p>
                <a:endParaRPr lang="zh-CN" altLang="en-US"/>
              </a:p>
            </p:txBody>
          </p:sp>
          <p:grpSp>
            <p:nvGrpSpPr>
              <p:cNvPr id="128" name="组合 127"/>
              <p:cNvGrpSpPr/>
              <p:nvPr/>
            </p:nvGrpSpPr>
            <p:grpSpPr>
              <a:xfrm>
                <a:off x="1333764" y="4997354"/>
                <a:ext cx="2924324" cy="441099"/>
                <a:chOff x="1333764" y="4997354"/>
                <a:chExt cx="2924324" cy="441099"/>
              </a:xfrm>
            </p:grpSpPr>
            <p:sp>
              <p:nvSpPr>
                <p:cNvPr id="172" name="任意多边形: 形状 171"/>
                <p:cNvSpPr/>
                <p:nvPr/>
              </p:nvSpPr>
              <p:spPr>
                <a:xfrm>
                  <a:off x="1333764" y="4997354"/>
                  <a:ext cx="2924324" cy="294066"/>
                </a:xfrm>
                <a:custGeom>
                  <a:avLst/>
                  <a:gdLst>
                    <a:gd name="connsiteX0" fmla="*/ 1681163 w 1704975"/>
                    <a:gd name="connsiteY0" fmla="*/ 123825 h 171450"/>
                    <a:gd name="connsiteX1" fmla="*/ 1657826 w 1704975"/>
                    <a:gd name="connsiteY1" fmla="*/ 142875 h 171450"/>
                    <a:gd name="connsiteX2" fmla="*/ 152400 w 1704975"/>
                    <a:gd name="connsiteY2" fmla="*/ 142875 h 171450"/>
                    <a:gd name="connsiteX3" fmla="*/ 41339 w 1704975"/>
                    <a:gd name="connsiteY3" fmla="*/ 39814 h 171450"/>
                    <a:gd name="connsiteX4" fmla="*/ 47625 w 1704975"/>
                    <a:gd name="connsiteY4" fmla="*/ 23813 h 171450"/>
                    <a:gd name="connsiteX5" fmla="*/ 23813 w 1704975"/>
                    <a:gd name="connsiteY5" fmla="*/ 0 h 171450"/>
                    <a:gd name="connsiteX6" fmla="*/ 0 w 1704975"/>
                    <a:gd name="connsiteY6" fmla="*/ 23813 h 171450"/>
                    <a:gd name="connsiteX7" fmla="*/ 23813 w 1704975"/>
                    <a:gd name="connsiteY7" fmla="*/ 47625 h 171450"/>
                    <a:gd name="connsiteX8" fmla="*/ 35909 w 1704975"/>
                    <a:gd name="connsiteY8" fmla="*/ 44196 h 171450"/>
                    <a:gd name="connsiteX9" fmla="*/ 152400 w 1704975"/>
                    <a:gd name="connsiteY9" fmla="*/ 152400 h 171450"/>
                    <a:gd name="connsiteX10" fmla="*/ 1657826 w 1704975"/>
                    <a:gd name="connsiteY10" fmla="*/ 152400 h 171450"/>
                    <a:gd name="connsiteX11" fmla="*/ 1681163 w 1704975"/>
                    <a:gd name="connsiteY11" fmla="*/ 171450 h 171450"/>
                    <a:gd name="connsiteX12" fmla="*/ 1704975 w 1704975"/>
                    <a:gd name="connsiteY12" fmla="*/ 147638 h 171450"/>
                    <a:gd name="connsiteX13" fmla="*/ 1681163 w 1704975"/>
                    <a:gd name="connsiteY13" fmla="*/ 123825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04975" h="171450">
                      <a:moveTo>
                        <a:pt x="1681163" y="123825"/>
                      </a:moveTo>
                      <a:cubicBezTo>
                        <a:pt x="1669637" y="123825"/>
                        <a:pt x="1660017" y="132017"/>
                        <a:pt x="1657826" y="142875"/>
                      </a:cubicBezTo>
                      <a:lnTo>
                        <a:pt x="152400" y="142875"/>
                      </a:lnTo>
                      <a:lnTo>
                        <a:pt x="41339" y="39814"/>
                      </a:lnTo>
                      <a:cubicBezTo>
                        <a:pt x="45148" y="35624"/>
                        <a:pt x="47625" y="30004"/>
                        <a:pt x="47625" y="23813"/>
                      </a:cubicBezTo>
                      <a:cubicBezTo>
                        <a:pt x="47625" y="10668"/>
                        <a:pt x="36957" y="0"/>
                        <a:pt x="23813" y="0"/>
                      </a:cubicBezTo>
                      <a:cubicBezTo>
                        <a:pt x="10668" y="0"/>
                        <a:pt x="0" y="10668"/>
                        <a:pt x="0" y="23813"/>
                      </a:cubicBezTo>
                      <a:cubicBezTo>
                        <a:pt x="0" y="36957"/>
                        <a:pt x="10668" y="47625"/>
                        <a:pt x="23813" y="47625"/>
                      </a:cubicBezTo>
                      <a:cubicBezTo>
                        <a:pt x="28289" y="47625"/>
                        <a:pt x="32385" y="46292"/>
                        <a:pt x="35909" y="44196"/>
                      </a:cubicBezTo>
                      <a:lnTo>
                        <a:pt x="152400" y="152400"/>
                      </a:lnTo>
                      <a:lnTo>
                        <a:pt x="1657826" y="152400"/>
                      </a:lnTo>
                      <a:cubicBezTo>
                        <a:pt x="1660017" y="163259"/>
                        <a:pt x="1669637" y="171450"/>
                        <a:pt x="1681163" y="171450"/>
                      </a:cubicBezTo>
                      <a:cubicBezTo>
                        <a:pt x="1694307" y="171450"/>
                        <a:pt x="1704975" y="160782"/>
                        <a:pt x="1704975" y="147638"/>
                      </a:cubicBezTo>
                      <a:cubicBezTo>
                        <a:pt x="1704975" y="134493"/>
                        <a:pt x="1694307" y="123825"/>
                        <a:pt x="1681163" y="123825"/>
                      </a:cubicBezTo>
                      <a:close/>
                    </a:path>
                  </a:pathLst>
                </a:custGeom>
                <a:gradFill flip="none" rotWithShape="1">
                  <a:gsLst>
                    <a:gs pos="0">
                      <a:schemeClr val="accent3"/>
                    </a:gs>
                    <a:gs pos="90000">
                      <a:schemeClr val="accent3">
                        <a:lumMod val="60000"/>
                        <a:lumOff val="40000"/>
                      </a:schemeClr>
                    </a:gs>
                  </a:gsLst>
                  <a:lin ang="10800000" scaled="1"/>
                  <a:tileRect/>
                </a:gradFill>
                <a:ln w="9525" cap="flat">
                  <a:noFill/>
                  <a:prstDash val="solid"/>
                  <a:miter/>
                </a:ln>
              </p:spPr>
              <p:txBody>
                <a:bodyPr rtlCol="0" anchor="ctr"/>
                <a:lstStyle/>
                <a:p>
                  <a:endParaRPr lang="zh-CN" altLang="en-US"/>
                </a:p>
              </p:txBody>
            </p:sp>
            <p:grpSp>
              <p:nvGrpSpPr>
                <p:cNvPr id="173" name="组合 172"/>
                <p:cNvGrpSpPr/>
                <p:nvPr/>
              </p:nvGrpSpPr>
              <p:grpSpPr>
                <a:xfrm>
                  <a:off x="2755083" y="5324094"/>
                  <a:ext cx="1355971" cy="114359"/>
                  <a:chOff x="2755083" y="5324094"/>
                  <a:chExt cx="1355971" cy="114359"/>
                </a:xfrm>
                <a:gradFill flip="none" rotWithShape="1">
                  <a:gsLst>
                    <a:gs pos="0">
                      <a:schemeClr val="accent3"/>
                    </a:gs>
                    <a:gs pos="100000">
                      <a:schemeClr val="accent3">
                        <a:alpha val="0"/>
                      </a:schemeClr>
                    </a:gs>
                  </a:gsLst>
                  <a:lin ang="0" scaled="1"/>
                  <a:tileRect/>
                </a:gradFill>
              </p:grpSpPr>
              <p:sp>
                <p:nvSpPr>
                  <p:cNvPr id="176" name="任意多边形: 形状 175"/>
                  <p:cNvSpPr/>
                  <p:nvPr/>
                </p:nvSpPr>
                <p:spPr>
                  <a:xfrm>
                    <a:off x="3898673" y="5324094"/>
                    <a:ext cx="212381" cy="114359"/>
                  </a:xfrm>
                  <a:custGeom>
                    <a:avLst/>
                    <a:gdLst>
                      <a:gd name="connsiteX0" fmla="*/ 57150 w 123825"/>
                      <a:gd name="connsiteY0" fmla="*/ 0 h 66675"/>
                      <a:gd name="connsiteX1" fmla="*/ 0 w 123825"/>
                      <a:gd name="connsiteY1" fmla="*/ 0 h 66675"/>
                      <a:gd name="connsiteX2" fmla="*/ 66675 w 123825"/>
                      <a:gd name="connsiteY2" fmla="*/ 66675 h 66675"/>
                      <a:gd name="connsiteX3" fmla="*/ 123825 w 123825"/>
                      <a:gd name="connsiteY3" fmla="*/ 66675 h 66675"/>
                    </a:gdLst>
                    <a:ahLst/>
                    <a:cxnLst>
                      <a:cxn ang="0">
                        <a:pos x="connsiteX0" y="connsiteY0"/>
                      </a:cxn>
                      <a:cxn ang="0">
                        <a:pos x="connsiteX1" y="connsiteY1"/>
                      </a:cxn>
                      <a:cxn ang="0">
                        <a:pos x="connsiteX2" y="connsiteY2"/>
                      </a:cxn>
                      <a:cxn ang="0">
                        <a:pos x="connsiteX3" y="connsiteY3"/>
                      </a:cxn>
                    </a:cxnLst>
                    <a:rect l="l" t="t" r="r" b="b"/>
                    <a:pathLst>
                      <a:path w="123825" h="66675">
                        <a:moveTo>
                          <a:pt x="57150" y="0"/>
                        </a:moveTo>
                        <a:lnTo>
                          <a:pt x="0" y="0"/>
                        </a:lnTo>
                        <a:lnTo>
                          <a:pt x="66675" y="66675"/>
                        </a:lnTo>
                        <a:lnTo>
                          <a:pt x="123825" y="66675"/>
                        </a:lnTo>
                        <a:close/>
                      </a:path>
                    </a:pathLst>
                  </a:custGeom>
                  <a:grpFill/>
                  <a:ln w="9525" cap="flat">
                    <a:noFill/>
                    <a:prstDash val="solid"/>
                    <a:miter/>
                  </a:ln>
                </p:spPr>
                <p:txBody>
                  <a:bodyPr rtlCol="0" anchor="ctr"/>
                  <a:lstStyle/>
                  <a:p>
                    <a:endParaRPr lang="zh-CN" altLang="en-US"/>
                  </a:p>
                </p:txBody>
              </p:sp>
              <p:sp>
                <p:nvSpPr>
                  <p:cNvPr id="177" name="任意多边形: 形状 176"/>
                  <p:cNvSpPr/>
                  <p:nvPr/>
                </p:nvSpPr>
                <p:spPr>
                  <a:xfrm>
                    <a:off x="3735303" y="5324094"/>
                    <a:ext cx="212381" cy="114359"/>
                  </a:xfrm>
                  <a:custGeom>
                    <a:avLst/>
                    <a:gdLst>
                      <a:gd name="connsiteX0" fmla="*/ 0 w 123825"/>
                      <a:gd name="connsiteY0" fmla="*/ 0 h 66675"/>
                      <a:gd name="connsiteX1" fmla="*/ 66675 w 123825"/>
                      <a:gd name="connsiteY1" fmla="*/ 66675 h 66675"/>
                      <a:gd name="connsiteX2" fmla="*/ 123825 w 123825"/>
                      <a:gd name="connsiteY2" fmla="*/ 66675 h 66675"/>
                      <a:gd name="connsiteX3" fmla="*/ 57150 w 123825"/>
                      <a:gd name="connsiteY3" fmla="*/ 0 h 66675"/>
                    </a:gdLst>
                    <a:ahLst/>
                    <a:cxnLst>
                      <a:cxn ang="0">
                        <a:pos x="connsiteX0" y="connsiteY0"/>
                      </a:cxn>
                      <a:cxn ang="0">
                        <a:pos x="connsiteX1" y="connsiteY1"/>
                      </a:cxn>
                      <a:cxn ang="0">
                        <a:pos x="connsiteX2" y="connsiteY2"/>
                      </a:cxn>
                      <a:cxn ang="0">
                        <a:pos x="connsiteX3" y="connsiteY3"/>
                      </a:cxn>
                    </a:cxnLst>
                    <a:rect l="l" t="t" r="r" b="b"/>
                    <a:pathLst>
                      <a:path w="123825" h="66675">
                        <a:moveTo>
                          <a:pt x="0" y="0"/>
                        </a:moveTo>
                        <a:lnTo>
                          <a:pt x="66675" y="66675"/>
                        </a:lnTo>
                        <a:lnTo>
                          <a:pt x="123825" y="66675"/>
                        </a:lnTo>
                        <a:lnTo>
                          <a:pt x="57150" y="0"/>
                        </a:lnTo>
                        <a:close/>
                      </a:path>
                    </a:pathLst>
                  </a:custGeom>
                  <a:grpFill/>
                  <a:ln w="9525" cap="flat">
                    <a:noFill/>
                    <a:prstDash val="solid"/>
                    <a:miter/>
                  </a:ln>
                </p:spPr>
                <p:txBody>
                  <a:bodyPr rtlCol="0" anchor="ctr"/>
                  <a:lstStyle/>
                  <a:p>
                    <a:endParaRPr lang="zh-CN" altLang="en-US"/>
                  </a:p>
                </p:txBody>
              </p:sp>
              <p:sp>
                <p:nvSpPr>
                  <p:cNvPr id="178" name="任意多边形: 形状 177"/>
                  <p:cNvSpPr/>
                  <p:nvPr/>
                </p:nvSpPr>
                <p:spPr>
                  <a:xfrm>
                    <a:off x="3571933" y="5324094"/>
                    <a:ext cx="212381" cy="114359"/>
                  </a:xfrm>
                  <a:custGeom>
                    <a:avLst/>
                    <a:gdLst>
                      <a:gd name="connsiteX0" fmla="*/ 0 w 123825"/>
                      <a:gd name="connsiteY0" fmla="*/ 0 h 66675"/>
                      <a:gd name="connsiteX1" fmla="*/ 66675 w 123825"/>
                      <a:gd name="connsiteY1" fmla="*/ 66675 h 66675"/>
                      <a:gd name="connsiteX2" fmla="*/ 123825 w 123825"/>
                      <a:gd name="connsiteY2" fmla="*/ 66675 h 66675"/>
                      <a:gd name="connsiteX3" fmla="*/ 57150 w 123825"/>
                      <a:gd name="connsiteY3" fmla="*/ 0 h 66675"/>
                    </a:gdLst>
                    <a:ahLst/>
                    <a:cxnLst>
                      <a:cxn ang="0">
                        <a:pos x="connsiteX0" y="connsiteY0"/>
                      </a:cxn>
                      <a:cxn ang="0">
                        <a:pos x="connsiteX1" y="connsiteY1"/>
                      </a:cxn>
                      <a:cxn ang="0">
                        <a:pos x="connsiteX2" y="connsiteY2"/>
                      </a:cxn>
                      <a:cxn ang="0">
                        <a:pos x="connsiteX3" y="connsiteY3"/>
                      </a:cxn>
                    </a:cxnLst>
                    <a:rect l="l" t="t" r="r" b="b"/>
                    <a:pathLst>
                      <a:path w="123825" h="66675">
                        <a:moveTo>
                          <a:pt x="0" y="0"/>
                        </a:moveTo>
                        <a:lnTo>
                          <a:pt x="66675" y="66675"/>
                        </a:lnTo>
                        <a:lnTo>
                          <a:pt x="123825" y="66675"/>
                        </a:lnTo>
                        <a:lnTo>
                          <a:pt x="57150" y="0"/>
                        </a:lnTo>
                        <a:close/>
                      </a:path>
                    </a:pathLst>
                  </a:custGeom>
                  <a:grpFill/>
                  <a:ln w="9525" cap="flat">
                    <a:noFill/>
                    <a:prstDash val="solid"/>
                    <a:miter/>
                  </a:ln>
                </p:spPr>
                <p:txBody>
                  <a:bodyPr rtlCol="0" anchor="ctr"/>
                  <a:lstStyle/>
                  <a:p>
                    <a:endParaRPr lang="zh-CN" altLang="en-US"/>
                  </a:p>
                </p:txBody>
              </p:sp>
              <p:sp>
                <p:nvSpPr>
                  <p:cNvPr id="179" name="任意多边形: 形状 178"/>
                  <p:cNvSpPr/>
                  <p:nvPr/>
                </p:nvSpPr>
                <p:spPr>
                  <a:xfrm>
                    <a:off x="3408563" y="5324094"/>
                    <a:ext cx="212381" cy="114359"/>
                  </a:xfrm>
                  <a:custGeom>
                    <a:avLst/>
                    <a:gdLst>
                      <a:gd name="connsiteX0" fmla="*/ 0 w 123825"/>
                      <a:gd name="connsiteY0" fmla="*/ 0 h 66675"/>
                      <a:gd name="connsiteX1" fmla="*/ 66675 w 123825"/>
                      <a:gd name="connsiteY1" fmla="*/ 66675 h 66675"/>
                      <a:gd name="connsiteX2" fmla="*/ 123825 w 123825"/>
                      <a:gd name="connsiteY2" fmla="*/ 66675 h 66675"/>
                      <a:gd name="connsiteX3" fmla="*/ 57150 w 123825"/>
                      <a:gd name="connsiteY3" fmla="*/ 0 h 66675"/>
                    </a:gdLst>
                    <a:ahLst/>
                    <a:cxnLst>
                      <a:cxn ang="0">
                        <a:pos x="connsiteX0" y="connsiteY0"/>
                      </a:cxn>
                      <a:cxn ang="0">
                        <a:pos x="connsiteX1" y="connsiteY1"/>
                      </a:cxn>
                      <a:cxn ang="0">
                        <a:pos x="connsiteX2" y="connsiteY2"/>
                      </a:cxn>
                      <a:cxn ang="0">
                        <a:pos x="connsiteX3" y="connsiteY3"/>
                      </a:cxn>
                    </a:cxnLst>
                    <a:rect l="l" t="t" r="r" b="b"/>
                    <a:pathLst>
                      <a:path w="123825" h="66675">
                        <a:moveTo>
                          <a:pt x="0" y="0"/>
                        </a:moveTo>
                        <a:lnTo>
                          <a:pt x="66675" y="66675"/>
                        </a:lnTo>
                        <a:lnTo>
                          <a:pt x="123825" y="66675"/>
                        </a:lnTo>
                        <a:lnTo>
                          <a:pt x="57150" y="0"/>
                        </a:lnTo>
                        <a:close/>
                      </a:path>
                    </a:pathLst>
                  </a:custGeom>
                  <a:grpFill/>
                  <a:ln w="9525" cap="flat">
                    <a:noFill/>
                    <a:prstDash val="solid"/>
                    <a:miter/>
                  </a:ln>
                </p:spPr>
                <p:txBody>
                  <a:bodyPr rtlCol="0" anchor="ctr"/>
                  <a:lstStyle/>
                  <a:p>
                    <a:endParaRPr lang="zh-CN" altLang="en-US"/>
                  </a:p>
                </p:txBody>
              </p:sp>
              <p:sp>
                <p:nvSpPr>
                  <p:cNvPr id="180" name="任意多边形: 形状 179"/>
                  <p:cNvSpPr/>
                  <p:nvPr/>
                </p:nvSpPr>
                <p:spPr>
                  <a:xfrm>
                    <a:off x="3245193" y="5324094"/>
                    <a:ext cx="212381" cy="114359"/>
                  </a:xfrm>
                  <a:custGeom>
                    <a:avLst/>
                    <a:gdLst>
                      <a:gd name="connsiteX0" fmla="*/ 0 w 123825"/>
                      <a:gd name="connsiteY0" fmla="*/ 0 h 66675"/>
                      <a:gd name="connsiteX1" fmla="*/ 66675 w 123825"/>
                      <a:gd name="connsiteY1" fmla="*/ 66675 h 66675"/>
                      <a:gd name="connsiteX2" fmla="*/ 123825 w 123825"/>
                      <a:gd name="connsiteY2" fmla="*/ 66675 h 66675"/>
                      <a:gd name="connsiteX3" fmla="*/ 57150 w 123825"/>
                      <a:gd name="connsiteY3" fmla="*/ 0 h 66675"/>
                    </a:gdLst>
                    <a:ahLst/>
                    <a:cxnLst>
                      <a:cxn ang="0">
                        <a:pos x="connsiteX0" y="connsiteY0"/>
                      </a:cxn>
                      <a:cxn ang="0">
                        <a:pos x="connsiteX1" y="connsiteY1"/>
                      </a:cxn>
                      <a:cxn ang="0">
                        <a:pos x="connsiteX2" y="connsiteY2"/>
                      </a:cxn>
                      <a:cxn ang="0">
                        <a:pos x="connsiteX3" y="connsiteY3"/>
                      </a:cxn>
                    </a:cxnLst>
                    <a:rect l="l" t="t" r="r" b="b"/>
                    <a:pathLst>
                      <a:path w="123825" h="66675">
                        <a:moveTo>
                          <a:pt x="0" y="0"/>
                        </a:moveTo>
                        <a:lnTo>
                          <a:pt x="66675" y="66675"/>
                        </a:lnTo>
                        <a:lnTo>
                          <a:pt x="123825" y="66675"/>
                        </a:lnTo>
                        <a:lnTo>
                          <a:pt x="57150" y="0"/>
                        </a:lnTo>
                        <a:close/>
                      </a:path>
                    </a:pathLst>
                  </a:custGeom>
                  <a:grpFill/>
                  <a:ln w="9525" cap="flat">
                    <a:noFill/>
                    <a:prstDash val="solid"/>
                    <a:miter/>
                  </a:ln>
                </p:spPr>
                <p:txBody>
                  <a:bodyPr rtlCol="0" anchor="ctr"/>
                  <a:lstStyle/>
                  <a:p>
                    <a:endParaRPr lang="zh-CN" altLang="en-US"/>
                  </a:p>
                </p:txBody>
              </p:sp>
              <p:sp>
                <p:nvSpPr>
                  <p:cNvPr id="181" name="任意多边形: 形状 180"/>
                  <p:cNvSpPr/>
                  <p:nvPr/>
                </p:nvSpPr>
                <p:spPr>
                  <a:xfrm>
                    <a:off x="3081823" y="5324094"/>
                    <a:ext cx="212381" cy="114359"/>
                  </a:xfrm>
                  <a:custGeom>
                    <a:avLst/>
                    <a:gdLst>
                      <a:gd name="connsiteX0" fmla="*/ 0 w 123825"/>
                      <a:gd name="connsiteY0" fmla="*/ 0 h 66675"/>
                      <a:gd name="connsiteX1" fmla="*/ 66675 w 123825"/>
                      <a:gd name="connsiteY1" fmla="*/ 66675 h 66675"/>
                      <a:gd name="connsiteX2" fmla="*/ 123825 w 123825"/>
                      <a:gd name="connsiteY2" fmla="*/ 66675 h 66675"/>
                      <a:gd name="connsiteX3" fmla="*/ 57150 w 123825"/>
                      <a:gd name="connsiteY3" fmla="*/ 0 h 66675"/>
                    </a:gdLst>
                    <a:ahLst/>
                    <a:cxnLst>
                      <a:cxn ang="0">
                        <a:pos x="connsiteX0" y="connsiteY0"/>
                      </a:cxn>
                      <a:cxn ang="0">
                        <a:pos x="connsiteX1" y="connsiteY1"/>
                      </a:cxn>
                      <a:cxn ang="0">
                        <a:pos x="connsiteX2" y="connsiteY2"/>
                      </a:cxn>
                      <a:cxn ang="0">
                        <a:pos x="connsiteX3" y="connsiteY3"/>
                      </a:cxn>
                    </a:cxnLst>
                    <a:rect l="l" t="t" r="r" b="b"/>
                    <a:pathLst>
                      <a:path w="123825" h="66675">
                        <a:moveTo>
                          <a:pt x="0" y="0"/>
                        </a:moveTo>
                        <a:lnTo>
                          <a:pt x="66675" y="66675"/>
                        </a:lnTo>
                        <a:lnTo>
                          <a:pt x="123825" y="66675"/>
                        </a:lnTo>
                        <a:lnTo>
                          <a:pt x="57150" y="0"/>
                        </a:lnTo>
                        <a:close/>
                      </a:path>
                    </a:pathLst>
                  </a:custGeom>
                  <a:grpFill/>
                  <a:ln w="9525" cap="flat">
                    <a:noFill/>
                    <a:prstDash val="solid"/>
                    <a:miter/>
                  </a:ln>
                </p:spPr>
                <p:txBody>
                  <a:bodyPr rtlCol="0" anchor="ctr"/>
                  <a:lstStyle/>
                  <a:p>
                    <a:endParaRPr lang="zh-CN" altLang="en-US"/>
                  </a:p>
                </p:txBody>
              </p:sp>
              <p:sp>
                <p:nvSpPr>
                  <p:cNvPr id="182" name="任意多边形: 形状 181"/>
                  <p:cNvSpPr/>
                  <p:nvPr/>
                </p:nvSpPr>
                <p:spPr>
                  <a:xfrm>
                    <a:off x="2918453" y="5324094"/>
                    <a:ext cx="212381" cy="114359"/>
                  </a:xfrm>
                  <a:custGeom>
                    <a:avLst/>
                    <a:gdLst>
                      <a:gd name="connsiteX0" fmla="*/ 0 w 123825"/>
                      <a:gd name="connsiteY0" fmla="*/ 0 h 66675"/>
                      <a:gd name="connsiteX1" fmla="*/ 66675 w 123825"/>
                      <a:gd name="connsiteY1" fmla="*/ 66675 h 66675"/>
                      <a:gd name="connsiteX2" fmla="*/ 123825 w 123825"/>
                      <a:gd name="connsiteY2" fmla="*/ 66675 h 66675"/>
                      <a:gd name="connsiteX3" fmla="*/ 57150 w 123825"/>
                      <a:gd name="connsiteY3" fmla="*/ 0 h 66675"/>
                    </a:gdLst>
                    <a:ahLst/>
                    <a:cxnLst>
                      <a:cxn ang="0">
                        <a:pos x="connsiteX0" y="connsiteY0"/>
                      </a:cxn>
                      <a:cxn ang="0">
                        <a:pos x="connsiteX1" y="connsiteY1"/>
                      </a:cxn>
                      <a:cxn ang="0">
                        <a:pos x="connsiteX2" y="connsiteY2"/>
                      </a:cxn>
                      <a:cxn ang="0">
                        <a:pos x="connsiteX3" y="connsiteY3"/>
                      </a:cxn>
                    </a:cxnLst>
                    <a:rect l="l" t="t" r="r" b="b"/>
                    <a:pathLst>
                      <a:path w="123825" h="66675">
                        <a:moveTo>
                          <a:pt x="0" y="0"/>
                        </a:moveTo>
                        <a:lnTo>
                          <a:pt x="66675" y="66675"/>
                        </a:lnTo>
                        <a:lnTo>
                          <a:pt x="123825" y="66675"/>
                        </a:lnTo>
                        <a:lnTo>
                          <a:pt x="57150" y="0"/>
                        </a:lnTo>
                        <a:close/>
                      </a:path>
                    </a:pathLst>
                  </a:custGeom>
                  <a:grpFill/>
                  <a:ln w="9525" cap="flat">
                    <a:noFill/>
                    <a:prstDash val="solid"/>
                    <a:miter/>
                  </a:ln>
                </p:spPr>
                <p:txBody>
                  <a:bodyPr rtlCol="0" anchor="ctr"/>
                  <a:lstStyle/>
                  <a:p>
                    <a:endParaRPr lang="zh-CN" altLang="en-US"/>
                  </a:p>
                </p:txBody>
              </p:sp>
              <p:sp>
                <p:nvSpPr>
                  <p:cNvPr id="183" name="任意多边形: 形状 182"/>
                  <p:cNvSpPr/>
                  <p:nvPr/>
                </p:nvSpPr>
                <p:spPr>
                  <a:xfrm>
                    <a:off x="2755083" y="5324094"/>
                    <a:ext cx="212381" cy="114359"/>
                  </a:xfrm>
                  <a:custGeom>
                    <a:avLst/>
                    <a:gdLst>
                      <a:gd name="connsiteX0" fmla="*/ 0 w 123825"/>
                      <a:gd name="connsiteY0" fmla="*/ 0 h 66675"/>
                      <a:gd name="connsiteX1" fmla="*/ 66675 w 123825"/>
                      <a:gd name="connsiteY1" fmla="*/ 66675 h 66675"/>
                      <a:gd name="connsiteX2" fmla="*/ 123825 w 123825"/>
                      <a:gd name="connsiteY2" fmla="*/ 66675 h 66675"/>
                      <a:gd name="connsiteX3" fmla="*/ 57150 w 123825"/>
                      <a:gd name="connsiteY3" fmla="*/ 0 h 66675"/>
                    </a:gdLst>
                    <a:ahLst/>
                    <a:cxnLst>
                      <a:cxn ang="0">
                        <a:pos x="connsiteX0" y="connsiteY0"/>
                      </a:cxn>
                      <a:cxn ang="0">
                        <a:pos x="connsiteX1" y="connsiteY1"/>
                      </a:cxn>
                      <a:cxn ang="0">
                        <a:pos x="connsiteX2" y="connsiteY2"/>
                      </a:cxn>
                      <a:cxn ang="0">
                        <a:pos x="connsiteX3" y="connsiteY3"/>
                      </a:cxn>
                    </a:cxnLst>
                    <a:rect l="l" t="t" r="r" b="b"/>
                    <a:pathLst>
                      <a:path w="123825" h="66675">
                        <a:moveTo>
                          <a:pt x="0" y="0"/>
                        </a:moveTo>
                        <a:lnTo>
                          <a:pt x="66675" y="66675"/>
                        </a:lnTo>
                        <a:lnTo>
                          <a:pt x="123825" y="66675"/>
                        </a:lnTo>
                        <a:lnTo>
                          <a:pt x="57150" y="0"/>
                        </a:lnTo>
                        <a:close/>
                      </a:path>
                    </a:pathLst>
                  </a:custGeom>
                  <a:grpFill/>
                  <a:ln w="9525" cap="flat">
                    <a:noFill/>
                    <a:prstDash val="solid"/>
                    <a:miter/>
                  </a:ln>
                </p:spPr>
                <p:txBody>
                  <a:bodyPr rtlCol="0" anchor="ctr"/>
                  <a:lstStyle/>
                  <a:p>
                    <a:endParaRPr lang="zh-CN" altLang="en-US"/>
                  </a:p>
                </p:txBody>
              </p:sp>
            </p:grpSp>
            <p:sp>
              <p:nvSpPr>
                <p:cNvPr id="174" name="任意多边形: 形状 173"/>
                <p:cNvSpPr/>
                <p:nvPr/>
              </p:nvSpPr>
              <p:spPr>
                <a:xfrm>
                  <a:off x="2199625" y="5324094"/>
                  <a:ext cx="604469" cy="114359"/>
                </a:xfrm>
                <a:custGeom>
                  <a:avLst/>
                  <a:gdLst>
                    <a:gd name="connsiteX0" fmla="*/ 352425 w 352425"/>
                    <a:gd name="connsiteY0" fmla="*/ 66675 h 66675"/>
                    <a:gd name="connsiteX1" fmla="*/ 66675 w 352425"/>
                    <a:gd name="connsiteY1" fmla="*/ 66675 h 66675"/>
                    <a:gd name="connsiteX2" fmla="*/ 0 w 352425"/>
                    <a:gd name="connsiteY2" fmla="*/ 0 h 66675"/>
                    <a:gd name="connsiteX3" fmla="*/ 285750 w 352425"/>
                    <a:gd name="connsiteY3" fmla="*/ 0 h 66675"/>
                  </a:gdLst>
                  <a:ahLst/>
                  <a:cxnLst>
                    <a:cxn ang="0">
                      <a:pos x="connsiteX0" y="connsiteY0"/>
                    </a:cxn>
                    <a:cxn ang="0">
                      <a:pos x="connsiteX1" y="connsiteY1"/>
                    </a:cxn>
                    <a:cxn ang="0">
                      <a:pos x="connsiteX2" y="connsiteY2"/>
                    </a:cxn>
                    <a:cxn ang="0">
                      <a:pos x="connsiteX3" y="connsiteY3"/>
                    </a:cxn>
                  </a:cxnLst>
                  <a:rect l="l" t="t" r="r" b="b"/>
                  <a:pathLst>
                    <a:path w="352425" h="66675">
                      <a:moveTo>
                        <a:pt x="352425" y="66675"/>
                      </a:moveTo>
                      <a:lnTo>
                        <a:pt x="66675" y="66675"/>
                      </a:lnTo>
                      <a:lnTo>
                        <a:pt x="0" y="0"/>
                      </a:lnTo>
                      <a:lnTo>
                        <a:pt x="285750" y="0"/>
                      </a:lnTo>
                      <a:close/>
                    </a:path>
                  </a:pathLst>
                </a:custGeom>
                <a:solidFill>
                  <a:schemeClr val="accent3">
                    <a:alpha val="50000"/>
                  </a:schemeClr>
                </a:solidFill>
                <a:ln w="9525" cap="flat">
                  <a:noFill/>
                  <a:prstDash val="solid"/>
                  <a:miter/>
                </a:ln>
              </p:spPr>
              <p:txBody>
                <a:bodyPr rtlCol="0" anchor="ctr"/>
                <a:lstStyle/>
                <a:p>
                  <a:endParaRPr lang="zh-CN" altLang="en-US"/>
                </a:p>
              </p:txBody>
            </p:sp>
            <p:sp>
              <p:nvSpPr>
                <p:cNvPr id="175" name="任意多边形: 形状 174"/>
                <p:cNvSpPr/>
                <p:nvPr/>
              </p:nvSpPr>
              <p:spPr>
                <a:xfrm>
                  <a:off x="1644167" y="5324094"/>
                  <a:ext cx="604469" cy="114359"/>
                </a:xfrm>
                <a:custGeom>
                  <a:avLst/>
                  <a:gdLst>
                    <a:gd name="connsiteX0" fmla="*/ 285750 w 352425"/>
                    <a:gd name="connsiteY0" fmla="*/ 0 h 66675"/>
                    <a:gd name="connsiteX1" fmla="*/ 0 w 352425"/>
                    <a:gd name="connsiteY1" fmla="*/ 0 h 66675"/>
                    <a:gd name="connsiteX2" fmla="*/ 66675 w 352425"/>
                    <a:gd name="connsiteY2" fmla="*/ 66675 h 66675"/>
                    <a:gd name="connsiteX3" fmla="*/ 352425 w 352425"/>
                    <a:gd name="connsiteY3" fmla="*/ 66675 h 66675"/>
                    <a:gd name="connsiteX4" fmla="*/ 285750 w 352425"/>
                    <a:gd name="connsiteY4" fmla="*/ 0 h 66675"/>
                    <a:gd name="connsiteX5" fmla="*/ 28575 w 352425"/>
                    <a:gd name="connsiteY5" fmla="*/ 9525 h 66675"/>
                    <a:gd name="connsiteX6" fmla="*/ 276225 w 352425"/>
                    <a:gd name="connsiteY6" fmla="*/ 9525 h 66675"/>
                    <a:gd name="connsiteX7" fmla="*/ 323850 w 352425"/>
                    <a:gd name="connsiteY7" fmla="*/ 57150 h 66675"/>
                    <a:gd name="connsiteX8" fmla="*/ 76200 w 352425"/>
                    <a:gd name="connsiteY8" fmla="*/ 57150 h 66675"/>
                    <a:gd name="connsiteX9" fmla="*/ 28575 w 352425"/>
                    <a:gd name="connsiteY9" fmla="*/ 9525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2425" h="66675">
                      <a:moveTo>
                        <a:pt x="285750" y="0"/>
                      </a:moveTo>
                      <a:lnTo>
                        <a:pt x="0" y="0"/>
                      </a:lnTo>
                      <a:lnTo>
                        <a:pt x="66675" y="66675"/>
                      </a:lnTo>
                      <a:lnTo>
                        <a:pt x="352425" y="66675"/>
                      </a:lnTo>
                      <a:lnTo>
                        <a:pt x="285750" y="0"/>
                      </a:lnTo>
                      <a:close/>
                      <a:moveTo>
                        <a:pt x="28575" y="9525"/>
                      </a:moveTo>
                      <a:lnTo>
                        <a:pt x="276225" y="9525"/>
                      </a:lnTo>
                      <a:lnTo>
                        <a:pt x="323850" y="57150"/>
                      </a:lnTo>
                      <a:lnTo>
                        <a:pt x="76200" y="57150"/>
                      </a:lnTo>
                      <a:lnTo>
                        <a:pt x="28575" y="9525"/>
                      </a:lnTo>
                      <a:close/>
                    </a:path>
                  </a:pathLst>
                </a:custGeom>
                <a:solidFill>
                  <a:schemeClr val="accent3"/>
                </a:solidFill>
                <a:ln w="9525" cap="flat">
                  <a:noFill/>
                  <a:prstDash val="solid"/>
                  <a:miter/>
                </a:ln>
              </p:spPr>
              <p:txBody>
                <a:bodyPr rtlCol="0" anchor="ctr"/>
                <a:lstStyle/>
                <a:p>
                  <a:endParaRPr lang="zh-CN" altLang="en-US"/>
                </a:p>
              </p:txBody>
            </p:sp>
          </p:grpSp>
          <p:grpSp>
            <p:nvGrpSpPr>
              <p:cNvPr id="129" name="组合 128"/>
              <p:cNvGrpSpPr/>
              <p:nvPr/>
            </p:nvGrpSpPr>
            <p:grpSpPr>
              <a:xfrm>
                <a:off x="9110178" y="4981017"/>
                <a:ext cx="1829744" cy="496643"/>
                <a:chOff x="7853362" y="4333875"/>
                <a:chExt cx="1066800" cy="289559"/>
              </a:xfrm>
              <a:gradFill flip="none" rotWithShape="1">
                <a:gsLst>
                  <a:gs pos="0">
                    <a:schemeClr val="accent3"/>
                  </a:gs>
                  <a:gs pos="80000">
                    <a:schemeClr val="accent3">
                      <a:lumMod val="60000"/>
                      <a:lumOff val="40000"/>
                    </a:schemeClr>
                  </a:gs>
                </a:gsLst>
                <a:lin ang="16200000" scaled="1"/>
                <a:tileRect/>
              </a:gradFill>
            </p:grpSpPr>
            <p:sp>
              <p:nvSpPr>
                <p:cNvPr id="170" name="任意多边形: 形状 169"/>
                <p:cNvSpPr/>
                <p:nvPr/>
              </p:nvSpPr>
              <p:spPr>
                <a:xfrm>
                  <a:off x="8620219" y="4333875"/>
                  <a:ext cx="299942" cy="289559"/>
                </a:xfrm>
                <a:custGeom>
                  <a:avLst/>
                  <a:gdLst>
                    <a:gd name="connsiteX0" fmla="*/ 0 w 299942"/>
                    <a:gd name="connsiteY0" fmla="*/ 289560 h 289559"/>
                    <a:gd name="connsiteX1" fmla="*/ 70771 w 299942"/>
                    <a:gd name="connsiteY1" fmla="*/ 289560 h 289559"/>
                    <a:gd name="connsiteX2" fmla="*/ 299942 w 299942"/>
                    <a:gd name="connsiteY2" fmla="*/ 70771 h 289559"/>
                    <a:gd name="connsiteX3" fmla="*/ 299942 w 299942"/>
                    <a:gd name="connsiteY3" fmla="*/ 0 h 289559"/>
                  </a:gdLst>
                  <a:ahLst/>
                  <a:cxnLst>
                    <a:cxn ang="0">
                      <a:pos x="connsiteX0" y="connsiteY0"/>
                    </a:cxn>
                    <a:cxn ang="0">
                      <a:pos x="connsiteX1" y="connsiteY1"/>
                    </a:cxn>
                    <a:cxn ang="0">
                      <a:pos x="connsiteX2" y="connsiteY2"/>
                    </a:cxn>
                    <a:cxn ang="0">
                      <a:pos x="connsiteX3" y="connsiteY3"/>
                    </a:cxn>
                  </a:cxnLst>
                  <a:rect l="l" t="t" r="r" b="b"/>
                  <a:pathLst>
                    <a:path w="299942" h="289559">
                      <a:moveTo>
                        <a:pt x="0" y="289560"/>
                      </a:moveTo>
                      <a:lnTo>
                        <a:pt x="70771" y="289560"/>
                      </a:lnTo>
                      <a:lnTo>
                        <a:pt x="299942" y="70771"/>
                      </a:lnTo>
                      <a:lnTo>
                        <a:pt x="299942" y="0"/>
                      </a:lnTo>
                      <a:close/>
                    </a:path>
                  </a:pathLst>
                </a:custGeom>
                <a:grpFill/>
                <a:ln w="9525" cap="flat">
                  <a:noFill/>
                  <a:prstDash val="solid"/>
                  <a:miter/>
                </a:ln>
              </p:spPr>
              <p:txBody>
                <a:bodyPr rtlCol="0" anchor="ctr"/>
                <a:lstStyle/>
                <a:p>
                  <a:endParaRPr lang="zh-CN" altLang="en-US"/>
                </a:p>
              </p:txBody>
            </p:sp>
            <p:sp>
              <p:nvSpPr>
                <p:cNvPr id="171" name="任意多边形: 形状 170"/>
                <p:cNvSpPr/>
                <p:nvPr/>
              </p:nvSpPr>
              <p:spPr>
                <a:xfrm>
                  <a:off x="7853362" y="4483608"/>
                  <a:ext cx="849630" cy="139826"/>
                </a:xfrm>
                <a:custGeom>
                  <a:avLst/>
                  <a:gdLst>
                    <a:gd name="connsiteX0" fmla="*/ 849630 w 849630"/>
                    <a:gd name="connsiteY0" fmla="*/ 0 h 139826"/>
                    <a:gd name="connsiteX1" fmla="*/ 714756 w 849630"/>
                    <a:gd name="connsiteY1" fmla="*/ 130302 h 139826"/>
                    <a:gd name="connsiteX2" fmla="*/ 0 w 849630"/>
                    <a:gd name="connsiteY2" fmla="*/ 130302 h 139826"/>
                    <a:gd name="connsiteX3" fmla="*/ 0 w 849630"/>
                    <a:gd name="connsiteY3" fmla="*/ 139827 h 139826"/>
                    <a:gd name="connsiteX4" fmla="*/ 704850 w 849630"/>
                    <a:gd name="connsiteY4" fmla="*/ 139827 h 139826"/>
                    <a:gd name="connsiteX5" fmla="*/ 723900 w 849630"/>
                    <a:gd name="connsiteY5" fmla="*/ 139827 h 139826"/>
                    <a:gd name="connsiteX6" fmla="*/ 729805 w 849630"/>
                    <a:gd name="connsiteY6" fmla="*/ 139827 h 139826"/>
                    <a:gd name="connsiteX7" fmla="*/ 849630 w 849630"/>
                    <a:gd name="connsiteY7" fmla="*/ 24955 h 139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49630" h="139826">
                      <a:moveTo>
                        <a:pt x="849630" y="0"/>
                      </a:moveTo>
                      <a:lnTo>
                        <a:pt x="714756" y="130302"/>
                      </a:lnTo>
                      <a:lnTo>
                        <a:pt x="0" y="130302"/>
                      </a:lnTo>
                      <a:lnTo>
                        <a:pt x="0" y="139827"/>
                      </a:lnTo>
                      <a:lnTo>
                        <a:pt x="704850" y="139827"/>
                      </a:lnTo>
                      <a:lnTo>
                        <a:pt x="723900" y="139827"/>
                      </a:lnTo>
                      <a:lnTo>
                        <a:pt x="729805" y="139827"/>
                      </a:lnTo>
                      <a:lnTo>
                        <a:pt x="849630" y="24955"/>
                      </a:lnTo>
                      <a:close/>
                    </a:path>
                  </a:pathLst>
                </a:custGeom>
                <a:grpFill/>
                <a:ln w="9525" cap="flat">
                  <a:noFill/>
                  <a:prstDash val="solid"/>
                  <a:miter/>
                </a:ln>
              </p:spPr>
              <p:txBody>
                <a:bodyPr rtlCol="0" anchor="ctr"/>
                <a:lstStyle/>
                <a:p>
                  <a:endParaRPr lang="zh-CN" altLang="en-US"/>
                </a:p>
              </p:txBody>
            </p:sp>
          </p:grpSp>
          <p:sp>
            <p:nvSpPr>
              <p:cNvPr id="130" name="任意多边形: 形状 129"/>
              <p:cNvSpPr/>
              <p:nvPr/>
            </p:nvSpPr>
            <p:spPr>
              <a:xfrm>
                <a:off x="1105046" y="2696613"/>
                <a:ext cx="9981909" cy="2954219"/>
              </a:xfrm>
              <a:custGeom>
                <a:avLst/>
                <a:gdLst>
                  <a:gd name="connsiteX0" fmla="*/ 5772150 w 5819775"/>
                  <a:gd name="connsiteY0" fmla="*/ 866775 h 1722405"/>
                  <a:gd name="connsiteX1" fmla="*/ 5772150 w 5819775"/>
                  <a:gd name="connsiteY1" fmla="*/ 1435132 h 1722405"/>
                  <a:gd name="connsiteX2" fmla="*/ 5544217 w 5819775"/>
                  <a:gd name="connsiteY2" fmla="*/ 1655731 h 1722405"/>
                  <a:gd name="connsiteX3" fmla="*/ 4432649 w 5819775"/>
                  <a:gd name="connsiteY3" fmla="*/ 1655731 h 1722405"/>
                  <a:gd name="connsiteX4" fmla="*/ 4212050 w 5819775"/>
                  <a:gd name="connsiteY4" fmla="*/ 1446181 h 1722405"/>
                  <a:gd name="connsiteX5" fmla="*/ 4133850 w 5819775"/>
                  <a:gd name="connsiteY5" fmla="*/ 1446181 h 1722405"/>
                  <a:gd name="connsiteX6" fmla="*/ 4095750 w 5819775"/>
                  <a:gd name="connsiteY6" fmla="*/ 1446181 h 1722405"/>
                  <a:gd name="connsiteX7" fmla="*/ 2209800 w 5819775"/>
                  <a:gd name="connsiteY7" fmla="*/ 1446181 h 1722405"/>
                  <a:gd name="connsiteX8" fmla="*/ 2143125 w 5819775"/>
                  <a:gd name="connsiteY8" fmla="*/ 1446181 h 1722405"/>
                  <a:gd name="connsiteX9" fmla="*/ 2095500 w 5819775"/>
                  <a:gd name="connsiteY9" fmla="*/ 1446181 h 1722405"/>
                  <a:gd name="connsiteX10" fmla="*/ 1893189 w 5819775"/>
                  <a:gd name="connsiteY10" fmla="*/ 1655731 h 1722405"/>
                  <a:gd name="connsiteX11" fmla="*/ 275558 w 5819775"/>
                  <a:gd name="connsiteY11" fmla="*/ 1655731 h 1722405"/>
                  <a:gd name="connsiteX12" fmla="*/ 47625 w 5819775"/>
                  <a:gd name="connsiteY12" fmla="*/ 1435132 h 1722405"/>
                  <a:gd name="connsiteX13" fmla="*/ 47625 w 5819775"/>
                  <a:gd name="connsiteY13" fmla="*/ 0 h 1722405"/>
                  <a:gd name="connsiteX14" fmla="*/ 0 w 5819775"/>
                  <a:gd name="connsiteY14" fmla="*/ 0 h 1722405"/>
                  <a:gd name="connsiteX15" fmla="*/ 0 w 5819775"/>
                  <a:gd name="connsiteY15" fmla="*/ 1389031 h 1722405"/>
                  <a:gd name="connsiteX16" fmla="*/ 0 w 5819775"/>
                  <a:gd name="connsiteY16" fmla="*/ 1446181 h 1722405"/>
                  <a:gd name="connsiteX17" fmla="*/ 0 w 5819775"/>
                  <a:gd name="connsiteY17" fmla="*/ 1455706 h 1722405"/>
                  <a:gd name="connsiteX18" fmla="*/ 273463 w 5819775"/>
                  <a:gd name="connsiteY18" fmla="*/ 1719739 h 1722405"/>
                  <a:gd name="connsiteX19" fmla="*/ 274511 w 5819775"/>
                  <a:gd name="connsiteY19" fmla="*/ 1722406 h 1722405"/>
                  <a:gd name="connsiteX20" fmla="*/ 1828800 w 5819775"/>
                  <a:gd name="connsiteY20" fmla="*/ 1722406 h 1722405"/>
                  <a:gd name="connsiteX21" fmla="*/ 1914525 w 5819775"/>
                  <a:gd name="connsiteY21" fmla="*/ 1722406 h 1722405"/>
                  <a:gd name="connsiteX22" fmla="*/ 1943100 w 5819775"/>
                  <a:gd name="connsiteY22" fmla="*/ 1722406 h 1722405"/>
                  <a:gd name="connsiteX23" fmla="*/ 2191417 w 5819775"/>
                  <a:gd name="connsiteY23" fmla="*/ 1465231 h 1722405"/>
                  <a:gd name="connsiteX24" fmla="*/ 4115848 w 5819775"/>
                  <a:gd name="connsiteY24" fmla="*/ 1465231 h 1722405"/>
                  <a:gd name="connsiteX25" fmla="*/ 4386548 w 5819775"/>
                  <a:gd name="connsiteY25" fmla="*/ 1722406 h 1722405"/>
                  <a:gd name="connsiteX26" fmla="*/ 4457700 w 5819775"/>
                  <a:gd name="connsiteY26" fmla="*/ 1722406 h 1722405"/>
                  <a:gd name="connsiteX27" fmla="*/ 4502849 w 5819775"/>
                  <a:gd name="connsiteY27" fmla="*/ 1722406 h 1722405"/>
                  <a:gd name="connsiteX28" fmla="*/ 5545265 w 5819775"/>
                  <a:gd name="connsiteY28" fmla="*/ 1722406 h 1722405"/>
                  <a:gd name="connsiteX29" fmla="*/ 5546312 w 5819775"/>
                  <a:gd name="connsiteY29" fmla="*/ 1719739 h 1722405"/>
                  <a:gd name="connsiteX30" fmla="*/ 5819775 w 5819775"/>
                  <a:gd name="connsiteY30" fmla="*/ 1455706 h 1722405"/>
                  <a:gd name="connsiteX31" fmla="*/ 5819775 w 5819775"/>
                  <a:gd name="connsiteY31" fmla="*/ 1446181 h 1722405"/>
                  <a:gd name="connsiteX32" fmla="*/ 5819775 w 5819775"/>
                  <a:gd name="connsiteY32" fmla="*/ 1389031 h 1722405"/>
                  <a:gd name="connsiteX33" fmla="*/ 5819775 w 5819775"/>
                  <a:gd name="connsiteY33" fmla="*/ 866775 h 1722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5819775" h="1722405">
                    <a:moveTo>
                      <a:pt x="5772150" y="866775"/>
                    </a:moveTo>
                    <a:lnTo>
                      <a:pt x="5772150" y="1435132"/>
                    </a:lnTo>
                    <a:lnTo>
                      <a:pt x="5544217" y="1655731"/>
                    </a:lnTo>
                    <a:lnTo>
                      <a:pt x="4432649" y="1655731"/>
                    </a:lnTo>
                    <a:lnTo>
                      <a:pt x="4212050" y="1446181"/>
                    </a:lnTo>
                    <a:lnTo>
                      <a:pt x="4133850" y="1446181"/>
                    </a:lnTo>
                    <a:lnTo>
                      <a:pt x="4095750" y="1446181"/>
                    </a:lnTo>
                    <a:lnTo>
                      <a:pt x="2209800" y="1446181"/>
                    </a:lnTo>
                    <a:lnTo>
                      <a:pt x="2143125" y="1446181"/>
                    </a:lnTo>
                    <a:lnTo>
                      <a:pt x="2095500" y="1446181"/>
                    </a:lnTo>
                    <a:lnTo>
                      <a:pt x="1893189" y="1655731"/>
                    </a:lnTo>
                    <a:lnTo>
                      <a:pt x="275558" y="1655731"/>
                    </a:lnTo>
                    <a:lnTo>
                      <a:pt x="47625" y="1435132"/>
                    </a:lnTo>
                    <a:lnTo>
                      <a:pt x="47625" y="0"/>
                    </a:lnTo>
                    <a:lnTo>
                      <a:pt x="0" y="0"/>
                    </a:lnTo>
                    <a:lnTo>
                      <a:pt x="0" y="1389031"/>
                    </a:lnTo>
                    <a:lnTo>
                      <a:pt x="0" y="1446181"/>
                    </a:lnTo>
                    <a:lnTo>
                      <a:pt x="0" y="1455706"/>
                    </a:lnTo>
                    <a:lnTo>
                      <a:pt x="273463" y="1719739"/>
                    </a:lnTo>
                    <a:lnTo>
                      <a:pt x="274511" y="1722406"/>
                    </a:lnTo>
                    <a:lnTo>
                      <a:pt x="1828800" y="1722406"/>
                    </a:lnTo>
                    <a:lnTo>
                      <a:pt x="1914525" y="1722406"/>
                    </a:lnTo>
                    <a:lnTo>
                      <a:pt x="1943100" y="1722406"/>
                    </a:lnTo>
                    <a:lnTo>
                      <a:pt x="2191417" y="1465231"/>
                    </a:lnTo>
                    <a:lnTo>
                      <a:pt x="4115848" y="1465231"/>
                    </a:lnTo>
                    <a:lnTo>
                      <a:pt x="4386548" y="1722406"/>
                    </a:lnTo>
                    <a:lnTo>
                      <a:pt x="4457700" y="1722406"/>
                    </a:lnTo>
                    <a:lnTo>
                      <a:pt x="4502849" y="1722406"/>
                    </a:lnTo>
                    <a:lnTo>
                      <a:pt x="5545265" y="1722406"/>
                    </a:lnTo>
                    <a:lnTo>
                      <a:pt x="5546312" y="1719739"/>
                    </a:lnTo>
                    <a:lnTo>
                      <a:pt x="5819775" y="1455706"/>
                    </a:lnTo>
                    <a:lnTo>
                      <a:pt x="5819775" y="1446181"/>
                    </a:lnTo>
                    <a:lnTo>
                      <a:pt x="5819775" y="1389031"/>
                    </a:lnTo>
                    <a:lnTo>
                      <a:pt x="5819775" y="866775"/>
                    </a:lnTo>
                    <a:close/>
                  </a:path>
                </a:pathLst>
              </a:custGeom>
              <a:gradFill flip="none" rotWithShape="1">
                <a:gsLst>
                  <a:gs pos="30000">
                    <a:schemeClr val="accent2">
                      <a:lumMod val="40000"/>
                      <a:lumOff val="60000"/>
                    </a:schemeClr>
                  </a:gs>
                  <a:gs pos="100000">
                    <a:schemeClr val="accent2"/>
                  </a:gs>
                </a:gsLst>
                <a:lin ang="5400000" scaled="1"/>
                <a:tileRect/>
              </a:gradFill>
              <a:ln w="9525" cap="flat">
                <a:noFill/>
                <a:prstDash val="solid"/>
                <a:miter/>
              </a:ln>
            </p:spPr>
            <p:txBody>
              <a:bodyPr rtlCol="0" anchor="ctr"/>
              <a:lstStyle/>
              <a:p>
                <a:endParaRPr lang="zh-CN" altLang="en-US"/>
              </a:p>
            </p:txBody>
          </p:sp>
          <p:sp>
            <p:nvSpPr>
              <p:cNvPr id="131" name="任意多边形: 形状 130"/>
              <p:cNvSpPr/>
              <p:nvPr/>
            </p:nvSpPr>
            <p:spPr>
              <a:xfrm>
                <a:off x="1105046" y="1207169"/>
                <a:ext cx="3332749" cy="1306960"/>
              </a:xfrm>
              <a:custGeom>
                <a:avLst/>
                <a:gdLst>
                  <a:gd name="connsiteX0" fmla="*/ 1943100 w 1943100"/>
                  <a:gd name="connsiteY0" fmla="*/ 47625 h 762000"/>
                  <a:gd name="connsiteX1" fmla="*/ 1943100 w 1943100"/>
                  <a:gd name="connsiteY1" fmla="*/ 0 h 762000"/>
                  <a:gd name="connsiteX2" fmla="*/ 276225 w 1943100"/>
                  <a:gd name="connsiteY2" fmla="*/ 0 h 762000"/>
                  <a:gd name="connsiteX3" fmla="*/ 0 w 1943100"/>
                  <a:gd name="connsiteY3" fmla="*/ 266700 h 762000"/>
                  <a:gd name="connsiteX4" fmla="*/ 0 w 1943100"/>
                  <a:gd name="connsiteY4" fmla="*/ 285750 h 762000"/>
                  <a:gd name="connsiteX5" fmla="*/ 0 w 1943100"/>
                  <a:gd name="connsiteY5" fmla="*/ 323850 h 762000"/>
                  <a:gd name="connsiteX6" fmla="*/ 0 w 1943100"/>
                  <a:gd name="connsiteY6" fmla="*/ 762000 h 762000"/>
                  <a:gd name="connsiteX7" fmla="*/ 47625 w 1943100"/>
                  <a:gd name="connsiteY7" fmla="*/ 762000 h 762000"/>
                  <a:gd name="connsiteX8" fmla="*/ 47625 w 1943100"/>
                  <a:gd name="connsiteY8" fmla="*/ 277749 h 762000"/>
                  <a:gd name="connsiteX9" fmla="*/ 285464 w 1943100"/>
                  <a:gd name="connsiteY9" fmla="*/ 47625 h 76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3100" h="762000">
                    <a:moveTo>
                      <a:pt x="1943100" y="47625"/>
                    </a:moveTo>
                    <a:lnTo>
                      <a:pt x="1943100" y="0"/>
                    </a:lnTo>
                    <a:lnTo>
                      <a:pt x="276225" y="0"/>
                    </a:lnTo>
                    <a:lnTo>
                      <a:pt x="0" y="266700"/>
                    </a:lnTo>
                    <a:lnTo>
                      <a:pt x="0" y="285750"/>
                    </a:lnTo>
                    <a:lnTo>
                      <a:pt x="0" y="323850"/>
                    </a:lnTo>
                    <a:lnTo>
                      <a:pt x="0" y="762000"/>
                    </a:lnTo>
                    <a:lnTo>
                      <a:pt x="47625" y="762000"/>
                    </a:lnTo>
                    <a:lnTo>
                      <a:pt x="47625" y="277749"/>
                    </a:lnTo>
                    <a:lnTo>
                      <a:pt x="285464" y="47625"/>
                    </a:lnTo>
                    <a:close/>
                  </a:path>
                </a:pathLst>
              </a:custGeom>
              <a:gradFill flip="none" rotWithShape="1">
                <a:gsLst>
                  <a:gs pos="30000">
                    <a:schemeClr val="accent2">
                      <a:lumMod val="60000"/>
                      <a:lumOff val="40000"/>
                    </a:schemeClr>
                  </a:gs>
                  <a:gs pos="100000">
                    <a:schemeClr val="accent2"/>
                  </a:gs>
                </a:gsLst>
                <a:lin ang="16200000" scaled="1"/>
                <a:tileRect/>
              </a:gradFill>
              <a:ln w="9525" cap="flat">
                <a:noFill/>
                <a:prstDash val="solid"/>
                <a:miter/>
              </a:ln>
            </p:spPr>
            <p:txBody>
              <a:bodyPr rtlCol="0" anchor="ctr"/>
              <a:lstStyle/>
              <a:p>
                <a:endParaRPr lang="zh-CN" altLang="en-US"/>
              </a:p>
            </p:txBody>
          </p:sp>
          <p:sp>
            <p:nvSpPr>
              <p:cNvPr id="132" name="任意多边形: 形状 131"/>
              <p:cNvSpPr/>
              <p:nvPr/>
            </p:nvSpPr>
            <p:spPr>
              <a:xfrm>
                <a:off x="7509151" y="1419550"/>
                <a:ext cx="2091136" cy="16337"/>
              </a:xfrm>
              <a:custGeom>
                <a:avLst/>
                <a:gdLst>
                  <a:gd name="connsiteX0" fmla="*/ 1219200 w 1219200"/>
                  <a:gd name="connsiteY0" fmla="*/ 9525 h 9525"/>
                  <a:gd name="connsiteX1" fmla="*/ 0 w 1219200"/>
                  <a:gd name="connsiteY1" fmla="*/ 9525 h 9525"/>
                  <a:gd name="connsiteX2" fmla="*/ 1143 w 1219200"/>
                  <a:gd name="connsiteY2" fmla="*/ 0 h 9525"/>
                  <a:gd name="connsiteX3" fmla="*/ 1219200 w 1219200"/>
                  <a:gd name="connsiteY3" fmla="*/ 0 h 9525"/>
                </a:gdLst>
                <a:ahLst/>
                <a:cxnLst>
                  <a:cxn ang="0">
                    <a:pos x="connsiteX0" y="connsiteY0"/>
                  </a:cxn>
                  <a:cxn ang="0">
                    <a:pos x="connsiteX1" y="connsiteY1"/>
                  </a:cxn>
                  <a:cxn ang="0">
                    <a:pos x="connsiteX2" y="connsiteY2"/>
                  </a:cxn>
                  <a:cxn ang="0">
                    <a:pos x="connsiteX3" y="connsiteY3"/>
                  </a:cxn>
                </a:cxnLst>
                <a:rect l="l" t="t" r="r" b="b"/>
                <a:pathLst>
                  <a:path w="1219200" h="9525">
                    <a:moveTo>
                      <a:pt x="1219200" y="9525"/>
                    </a:moveTo>
                    <a:lnTo>
                      <a:pt x="0" y="9525"/>
                    </a:lnTo>
                    <a:lnTo>
                      <a:pt x="1143" y="0"/>
                    </a:lnTo>
                    <a:lnTo>
                      <a:pt x="1219200" y="0"/>
                    </a:lnTo>
                    <a:close/>
                  </a:path>
                </a:pathLst>
              </a:custGeom>
              <a:solidFill>
                <a:schemeClr val="accent2">
                  <a:alpha val="50000"/>
                </a:schemeClr>
              </a:solidFill>
              <a:ln w="9525" cap="flat">
                <a:noFill/>
                <a:prstDash val="solid"/>
                <a:miter/>
              </a:ln>
            </p:spPr>
            <p:txBody>
              <a:bodyPr rtlCol="0" anchor="ctr"/>
              <a:lstStyle/>
              <a:p>
                <a:endParaRPr lang="zh-CN" altLang="en-US"/>
              </a:p>
            </p:txBody>
          </p:sp>
          <p:grpSp>
            <p:nvGrpSpPr>
              <p:cNvPr id="133" name="组合 132"/>
              <p:cNvGrpSpPr/>
              <p:nvPr/>
            </p:nvGrpSpPr>
            <p:grpSpPr>
              <a:xfrm>
                <a:off x="1268416" y="1337865"/>
                <a:ext cx="2875312" cy="529319"/>
                <a:chOff x="1268416" y="1337865"/>
                <a:chExt cx="2875312" cy="529319"/>
              </a:xfrm>
            </p:grpSpPr>
            <p:sp>
              <p:nvSpPr>
                <p:cNvPr id="165" name="任意多边形: 形状 164"/>
                <p:cNvSpPr/>
                <p:nvPr/>
              </p:nvSpPr>
              <p:spPr>
                <a:xfrm>
                  <a:off x="3139002" y="1346033"/>
                  <a:ext cx="996557" cy="81685"/>
                </a:xfrm>
                <a:custGeom>
                  <a:avLst/>
                  <a:gdLst>
                    <a:gd name="connsiteX0" fmla="*/ 0 w 581025"/>
                    <a:gd name="connsiteY0" fmla="*/ 0 h 47625"/>
                    <a:gd name="connsiteX1" fmla="*/ 581025 w 581025"/>
                    <a:gd name="connsiteY1" fmla="*/ 0 h 47625"/>
                    <a:gd name="connsiteX2" fmla="*/ 581025 w 581025"/>
                    <a:gd name="connsiteY2" fmla="*/ 47625 h 47625"/>
                    <a:gd name="connsiteX3" fmla="*/ 0 w 581025"/>
                    <a:gd name="connsiteY3" fmla="*/ 47625 h 47625"/>
                  </a:gdLst>
                  <a:ahLst/>
                  <a:cxnLst>
                    <a:cxn ang="0">
                      <a:pos x="connsiteX0" y="connsiteY0"/>
                    </a:cxn>
                    <a:cxn ang="0">
                      <a:pos x="connsiteX1" y="connsiteY1"/>
                    </a:cxn>
                    <a:cxn ang="0">
                      <a:pos x="connsiteX2" y="connsiteY2"/>
                    </a:cxn>
                    <a:cxn ang="0">
                      <a:pos x="connsiteX3" y="connsiteY3"/>
                    </a:cxn>
                  </a:cxnLst>
                  <a:rect l="l" t="t" r="r" b="b"/>
                  <a:pathLst>
                    <a:path w="581025" h="47625">
                      <a:moveTo>
                        <a:pt x="0" y="0"/>
                      </a:moveTo>
                      <a:lnTo>
                        <a:pt x="581025" y="0"/>
                      </a:lnTo>
                      <a:lnTo>
                        <a:pt x="581025" y="47625"/>
                      </a:lnTo>
                      <a:lnTo>
                        <a:pt x="0" y="47625"/>
                      </a:lnTo>
                      <a:close/>
                    </a:path>
                  </a:pathLst>
                </a:custGeom>
                <a:gradFill flip="none" rotWithShape="1">
                  <a:gsLst>
                    <a:gs pos="10000">
                      <a:schemeClr val="accent3">
                        <a:alpha val="0"/>
                      </a:schemeClr>
                    </a:gs>
                    <a:gs pos="100000">
                      <a:schemeClr val="accent3"/>
                    </a:gs>
                  </a:gsLst>
                  <a:lin ang="0" scaled="1"/>
                  <a:tileRect/>
                </a:gradFill>
                <a:ln w="9525" cap="flat">
                  <a:noFill/>
                  <a:prstDash val="solid"/>
                  <a:miter/>
                </a:ln>
              </p:spPr>
              <p:txBody>
                <a:bodyPr rtlCol="0" anchor="ctr"/>
                <a:lstStyle/>
                <a:p>
                  <a:endParaRPr lang="zh-CN" altLang="en-US"/>
                </a:p>
              </p:txBody>
            </p:sp>
            <p:sp>
              <p:nvSpPr>
                <p:cNvPr id="166" name="任意多边形: 形状 165"/>
                <p:cNvSpPr/>
                <p:nvPr/>
              </p:nvSpPr>
              <p:spPr>
                <a:xfrm>
                  <a:off x="3130834" y="1337865"/>
                  <a:ext cx="1012894" cy="98022"/>
                </a:xfrm>
                <a:custGeom>
                  <a:avLst/>
                  <a:gdLst>
                    <a:gd name="connsiteX0" fmla="*/ 0 w 590550"/>
                    <a:gd name="connsiteY0" fmla="*/ 0 h 57150"/>
                    <a:gd name="connsiteX1" fmla="*/ 0 w 590550"/>
                    <a:gd name="connsiteY1" fmla="*/ 57150 h 57150"/>
                    <a:gd name="connsiteX2" fmla="*/ 590550 w 590550"/>
                    <a:gd name="connsiteY2" fmla="*/ 57150 h 57150"/>
                    <a:gd name="connsiteX3" fmla="*/ 590550 w 590550"/>
                    <a:gd name="connsiteY3" fmla="*/ 0 h 57150"/>
                    <a:gd name="connsiteX4" fmla="*/ 0 w 590550"/>
                    <a:gd name="connsiteY4" fmla="*/ 0 h 57150"/>
                    <a:gd name="connsiteX5" fmla="*/ 581025 w 590550"/>
                    <a:gd name="connsiteY5" fmla="*/ 47625 h 57150"/>
                    <a:gd name="connsiteX6" fmla="*/ 9525 w 590550"/>
                    <a:gd name="connsiteY6" fmla="*/ 47625 h 57150"/>
                    <a:gd name="connsiteX7" fmla="*/ 9525 w 590550"/>
                    <a:gd name="connsiteY7" fmla="*/ 9525 h 57150"/>
                    <a:gd name="connsiteX8" fmla="*/ 581025 w 590550"/>
                    <a:gd name="connsiteY8" fmla="*/ 9525 h 57150"/>
                    <a:gd name="connsiteX9" fmla="*/ 581025 w 590550"/>
                    <a:gd name="connsiteY9" fmla="*/ 47625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90550" h="57150">
                      <a:moveTo>
                        <a:pt x="0" y="0"/>
                      </a:moveTo>
                      <a:lnTo>
                        <a:pt x="0" y="57150"/>
                      </a:lnTo>
                      <a:lnTo>
                        <a:pt x="590550" y="57150"/>
                      </a:lnTo>
                      <a:lnTo>
                        <a:pt x="590550" y="0"/>
                      </a:lnTo>
                      <a:lnTo>
                        <a:pt x="0" y="0"/>
                      </a:lnTo>
                      <a:close/>
                      <a:moveTo>
                        <a:pt x="581025" y="47625"/>
                      </a:moveTo>
                      <a:lnTo>
                        <a:pt x="9525" y="47625"/>
                      </a:lnTo>
                      <a:lnTo>
                        <a:pt x="9525" y="9525"/>
                      </a:lnTo>
                      <a:lnTo>
                        <a:pt x="581025" y="9525"/>
                      </a:lnTo>
                      <a:lnTo>
                        <a:pt x="581025" y="47625"/>
                      </a:lnTo>
                      <a:close/>
                    </a:path>
                  </a:pathLst>
                </a:custGeom>
                <a:solidFill>
                  <a:schemeClr val="accent3"/>
                </a:solidFill>
                <a:ln w="9525" cap="flat">
                  <a:noFill/>
                  <a:prstDash val="solid"/>
                  <a:miter/>
                </a:ln>
              </p:spPr>
              <p:txBody>
                <a:bodyPr rtlCol="0" anchor="ctr"/>
                <a:lstStyle/>
                <a:p>
                  <a:endParaRPr lang="zh-CN" altLang="en-US"/>
                </a:p>
              </p:txBody>
            </p:sp>
            <p:grpSp>
              <p:nvGrpSpPr>
                <p:cNvPr id="167" name="组合 166"/>
                <p:cNvGrpSpPr/>
                <p:nvPr/>
              </p:nvGrpSpPr>
              <p:grpSpPr>
                <a:xfrm>
                  <a:off x="1268416" y="1370539"/>
                  <a:ext cx="1878755" cy="496645"/>
                  <a:chOff x="3281362" y="2228850"/>
                  <a:chExt cx="1095375" cy="289560"/>
                </a:xfrm>
                <a:gradFill flip="none" rotWithShape="1">
                  <a:gsLst>
                    <a:gs pos="0">
                      <a:schemeClr val="accent3"/>
                    </a:gs>
                    <a:gs pos="80000">
                      <a:schemeClr val="accent3">
                        <a:lumMod val="60000"/>
                        <a:lumOff val="40000"/>
                      </a:schemeClr>
                    </a:gs>
                  </a:gsLst>
                  <a:lin ang="5400000" scaled="1"/>
                  <a:tileRect/>
                </a:gradFill>
              </p:grpSpPr>
              <p:sp>
                <p:nvSpPr>
                  <p:cNvPr id="168" name="任意多边形: 形状 167"/>
                  <p:cNvSpPr/>
                  <p:nvPr/>
                </p:nvSpPr>
                <p:spPr>
                  <a:xfrm>
                    <a:off x="3281362" y="2228850"/>
                    <a:ext cx="299942" cy="289560"/>
                  </a:xfrm>
                  <a:custGeom>
                    <a:avLst/>
                    <a:gdLst>
                      <a:gd name="connsiteX0" fmla="*/ 229172 w 299942"/>
                      <a:gd name="connsiteY0" fmla="*/ 0 h 289560"/>
                      <a:gd name="connsiteX1" fmla="*/ 0 w 299942"/>
                      <a:gd name="connsiteY1" fmla="*/ 218789 h 289560"/>
                      <a:gd name="connsiteX2" fmla="*/ 0 w 299942"/>
                      <a:gd name="connsiteY2" fmla="*/ 289560 h 289560"/>
                      <a:gd name="connsiteX3" fmla="*/ 299942 w 299942"/>
                      <a:gd name="connsiteY3" fmla="*/ 0 h 289560"/>
                    </a:gdLst>
                    <a:ahLst/>
                    <a:cxnLst>
                      <a:cxn ang="0">
                        <a:pos x="connsiteX0" y="connsiteY0"/>
                      </a:cxn>
                      <a:cxn ang="0">
                        <a:pos x="connsiteX1" y="connsiteY1"/>
                      </a:cxn>
                      <a:cxn ang="0">
                        <a:pos x="connsiteX2" y="connsiteY2"/>
                      </a:cxn>
                      <a:cxn ang="0">
                        <a:pos x="connsiteX3" y="connsiteY3"/>
                      </a:cxn>
                    </a:cxnLst>
                    <a:rect l="l" t="t" r="r" b="b"/>
                    <a:pathLst>
                      <a:path w="299942" h="289560">
                        <a:moveTo>
                          <a:pt x="229172" y="0"/>
                        </a:moveTo>
                        <a:lnTo>
                          <a:pt x="0" y="218789"/>
                        </a:lnTo>
                        <a:lnTo>
                          <a:pt x="0" y="289560"/>
                        </a:lnTo>
                        <a:lnTo>
                          <a:pt x="299942" y="0"/>
                        </a:lnTo>
                        <a:close/>
                      </a:path>
                    </a:pathLst>
                  </a:custGeom>
                  <a:grpFill/>
                  <a:ln w="9525" cap="flat">
                    <a:noFill/>
                    <a:prstDash val="solid"/>
                    <a:miter/>
                  </a:ln>
                </p:spPr>
                <p:txBody>
                  <a:bodyPr rtlCol="0" anchor="ctr"/>
                  <a:lstStyle/>
                  <a:p>
                    <a:endParaRPr lang="zh-CN" altLang="en-US"/>
                  </a:p>
                </p:txBody>
              </p:sp>
              <p:sp>
                <p:nvSpPr>
                  <p:cNvPr id="169" name="任意多边形: 形状 168"/>
                  <p:cNvSpPr/>
                  <p:nvPr/>
                </p:nvSpPr>
                <p:spPr>
                  <a:xfrm>
                    <a:off x="3498531" y="2228850"/>
                    <a:ext cx="878205" cy="139827"/>
                  </a:xfrm>
                  <a:custGeom>
                    <a:avLst/>
                    <a:gdLst>
                      <a:gd name="connsiteX0" fmla="*/ 878205 w 878205"/>
                      <a:gd name="connsiteY0" fmla="*/ 0 h 139827"/>
                      <a:gd name="connsiteX1" fmla="*/ 144780 w 878205"/>
                      <a:gd name="connsiteY1" fmla="*/ 0 h 139827"/>
                      <a:gd name="connsiteX2" fmla="*/ 126873 w 878205"/>
                      <a:gd name="connsiteY2" fmla="*/ 0 h 139827"/>
                      <a:gd name="connsiteX3" fmla="*/ 119825 w 878205"/>
                      <a:gd name="connsiteY3" fmla="*/ 0 h 139827"/>
                      <a:gd name="connsiteX4" fmla="*/ 0 w 878205"/>
                      <a:gd name="connsiteY4" fmla="*/ 114871 h 139827"/>
                      <a:gd name="connsiteX5" fmla="*/ 0 w 878205"/>
                      <a:gd name="connsiteY5" fmla="*/ 139827 h 139827"/>
                      <a:gd name="connsiteX6" fmla="*/ 134874 w 878205"/>
                      <a:gd name="connsiteY6" fmla="*/ 9525 h 139827"/>
                      <a:gd name="connsiteX7" fmla="*/ 878205 w 878205"/>
                      <a:gd name="connsiteY7" fmla="*/ 9525 h 139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205" h="139827">
                        <a:moveTo>
                          <a:pt x="878205" y="0"/>
                        </a:moveTo>
                        <a:lnTo>
                          <a:pt x="144780" y="0"/>
                        </a:lnTo>
                        <a:lnTo>
                          <a:pt x="126873" y="0"/>
                        </a:lnTo>
                        <a:lnTo>
                          <a:pt x="119825" y="0"/>
                        </a:lnTo>
                        <a:lnTo>
                          <a:pt x="0" y="114871"/>
                        </a:lnTo>
                        <a:lnTo>
                          <a:pt x="0" y="139827"/>
                        </a:lnTo>
                        <a:lnTo>
                          <a:pt x="134874" y="9525"/>
                        </a:lnTo>
                        <a:lnTo>
                          <a:pt x="878205" y="9525"/>
                        </a:lnTo>
                        <a:close/>
                      </a:path>
                    </a:pathLst>
                  </a:custGeom>
                  <a:grpFill/>
                  <a:ln w="9525" cap="flat">
                    <a:noFill/>
                    <a:prstDash val="solid"/>
                    <a:miter/>
                  </a:ln>
                </p:spPr>
                <p:txBody>
                  <a:bodyPr rtlCol="0" anchor="ctr"/>
                  <a:lstStyle/>
                  <a:p>
                    <a:endParaRPr lang="zh-CN" altLang="en-US"/>
                  </a:p>
                </p:txBody>
              </p:sp>
            </p:grpSp>
          </p:grpSp>
          <p:sp>
            <p:nvSpPr>
              <p:cNvPr id="134" name="任意多边形: 形状 133"/>
              <p:cNvSpPr/>
              <p:nvPr/>
            </p:nvSpPr>
            <p:spPr>
              <a:xfrm>
                <a:off x="4601165" y="1207169"/>
                <a:ext cx="6485790" cy="2777290"/>
              </a:xfrm>
              <a:custGeom>
                <a:avLst/>
                <a:gdLst>
                  <a:gd name="connsiteX0" fmla="*/ 3505200 w 3781425"/>
                  <a:gd name="connsiteY0" fmla="*/ 0 h 1619250"/>
                  <a:gd name="connsiteX1" fmla="*/ 3124200 w 3781425"/>
                  <a:gd name="connsiteY1" fmla="*/ 0 h 1619250"/>
                  <a:gd name="connsiteX2" fmla="*/ 3019425 w 3781425"/>
                  <a:gd name="connsiteY2" fmla="*/ 0 h 1619250"/>
                  <a:gd name="connsiteX3" fmla="*/ 3009900 w 3781425"/>
                  <a:gd name="connsiteY3" fmla="*/ 0 h 1619250"/>
                  <a:gd name="connsiteX4" fmla="*/ 2830259 w 3781425"/>
                  <a:gd name="connsiteY4" fmla="*/ 171450 h 1619250"/>
                  <a:gd name="connsiteX5" fmla="*/ 1779651 w 3781425"/>
                  <a:gd name="connsiteY5" fmla="*/ 171450 h 1619250"/>
                  <a:gd name="connsiteX6" fmla="*/ 1619250 w 3781425"/>
                  <a:gd name="connsiteY6" fmla="*/ 19050 h 1619250"/>
                  <a:gd name="connsiteX7" fmla="*/ 1609725 w 3781425"/>
                  <a:gd name="connsiteY7" fmla="*/ 19050 h 1619250"/>
                  <a:gd name="connsiteX8" fmla="*/ 1543050 w 3781425"/>
                  <a:gd name="connsiteY8" fmla="*/ 19050 h 1619250"/>
                  <a:gd name="connsiteX9" fmla="*/ 47149 w 3781425"/>
                  <a:gd name="connsiteY9" fmla="*/ 19050 h 1619250"/>
                  <a:gd name="connsiteX10" fmla="*/ 23813 w 3781425"/>
                  <a:gd name="connsiteY10" fmla="*/ 0 h 1619250"/>
                  <a:gd name="connsiteX11" fmla="*/ 0 w 3781425"/>
                  <a:gd name="connsiteY11" fmla="*/ 23813 h 1619250"/>
                  <a:gd name="connsiteX12" fmla="*/ 23813 w 3781425"/>
                  <a:gd name="connsiteY12" fmla="*/ 47625 h 1619250"/>
                  <a:gd name="connsiteX13" fmla="*/ 47149 w 3781425"/>
                  <a:gd name="connsiteY13" fmla="*/ 28575 h 1619250"/>
                  <a:gd name="connsiteX14" fmla="*/ 1553051 w 3781425"/>
                  <a:gd name="connsiteY14" fmla="*/ 28575 h 1619250"/>
                  <a:gd name="connsiteX15" fmla="*/ 1733550 w 3781425"/>
                  <a:gd name="connsiteY15" fmla="*/ 200025 h 1619250"/>
                  <a:gd name="connsiteX16" fmla="*/ 1743075 w 3781425"/>
                  <a:gd name="connsiteY16" fmla="*/ 200025 h 1619250"/>
                  <a:gd name="connsiteX17" fmla="*/ 1809750 w 3781425"/>
                  <a:gd name="connsiteY17" fmla="*/ 200025 h 1619250"/>
                  <a:gd name="connsiteX18" fmla="*/ 2800350 w 3781425"/>
                  <a:gd name="connsiteY18" fmla="*/ 200025 h 1619250"/>
                  <a:gd name="connsiteX19" fmla="*/ 2867025 w 3781425"/>
                  <a:gd name="connsiteY19" fmla="*/ 200025 h 1619250"/>
                  <a:gd name="connsiteX20" fmla="*/ 2914650 w 3781425"/>
                  <a:gd name="connsiteY20" fmla="*/ 200025 h 1619250"/>
                  <a:gd name="connsiteX21" fmla="*/ 3074289 w 3781425"/>
                  <a:gd name="connsiteY21" fmla="*/ 47625 h 1619250"/>
                  <a:gd name="connsiteX22" fmla="*/ 3438525 w 3781425"/>
                  <a:gd name="connsiteY22" fmla="*/ 47625 h 1619250"/>
                  <a:gd name="connsiteX23" fmla="*/ 3733800 w 3781425"/>
                  <a:gd name="connsiteY23" fmla="*/ 334709 h 1619250"/>
                  <a:gd name="connsiteX24" fmla="*/ 3733800 w 3781425"/>
                  <a:gd name="connsiteY24" fmla="*/ 1619250 h 1619250"/>
                  <a:gd name="connsiteX25" fmla="*/ 3781425 w 3781425"/>
                  <a:gd name="connsiteY25" fmla="*/ 1619250 h 1619250"/>
                  <a:gd name="connsiteX26" fmla="*/ 3781425 w 3781425"/>
                  <a:gd name="connsiteY26" fmla="*/ 381000 h 1619250"/>
                  <a:gd name="connsiteX27" fmla="*/ 3781425 w 3781425"/>
                  <a:gd name="connsiteY27" fmla="*/ 285750 h 1619250"/>
                  <a:gd name="connsiteX28" fmla="*/ 3781425 w 3781425"/>
                  <a:gd name="connsiteY28" fmla="*/ 266700 h 1619250"/>
                  <a:gd name="connsiteX29" fmla="*/ 3505200 w 3781425"/>
                  <a:gd name="connsiteY29" fmla="*/ 0 h 161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781425" h="1619250">
                    <a:moveTo>
                      <a:pt x="3505200" y="0"/>
                    </a:moveTo>
                    <a:lnTo>
                      <a:pt x="3124200" y="0"/>
                    </a:lnTo>
                    <a:lnTo>
                      <a:pt x="3019425" y="0"/>
                    </a:lnTo>
                    <a:lnTo>
                      <a:pt x="3009900" y="0"/>
                    </a:lnTo>
                    <a:lnTo>
                      <a:pt x="2830259" y="171450"/>
                    </a:lnTo>
                    <a:lnTo>
                      <a:pt x="1779651" y="171450"/>
                    </a:lnTo>
                    <a:lnTo>
                      <a:pt x="1619250" y="19050"/>
                    </a:lnTo>
                    <a:lnTo>
                      <a:pt x="1609725" y="19050"/>
                    </a:lnTo>
                    <a:lnTo>
                      <a:pt x="1543050" y="19050"/>
                    </a:lnTo>
                    <a:lnTo>
                      <a:pt x="47149" y="19050"/>
                    </a:lnTo>
                    <a:cubicBezTo>
                      <a:pt x="44958" y="8192"/>
                      <a:pt x="35338" y="0"/>
                      <a:pt x="23813" y="0"/>
                    </a:cubicBezTo>
                    <a:cubicBezTo>
                      <a:pt x="10668" y="0"/>
                      <a:pt x="0" y="10668"/>
                      <a:pt x="0" y="23813"/>
                    </a:cubicBezTo>
                    <a:cubicBezTo>
                      <a:pt x="0" y="36957"/>
                      <a:pt x="10668" y="47625"/>
                      <a:pt x="23813" y="47625"/>
                    </a:cubicBezTo>
                    <a:cubicBezTo>
                      <a:pt x="35338" y="47625"/>
                      <a:pt x="44958" y="39434"/>
                      <a:pt x="47149" y="28575"/>
                    </a:cubicBezTo>
                    <a:lnTo>
                      <a:pt x="1553051" y="28575"/>
                    </a:lnTo>
                    <a:lnTo>
                      <a:pt x="1733550" y="200025"/>
                    </a:lnTo>
                    <a:lnTo>
                      <a:pt x="1743075" y="200025"/>
                    </a:lnTo>
                    <a:lnTo>
                      <a:pt x="1809750" y="200025"/>
                    </a:lnTo>
                    <a:lnTo>
                      <a:pt x="2800350" y="200025"/>
                    </a:lnTo>
                    <a:lnTo>
                      <a:pt x="2867025" y="200025"/>
                    </a:lnTo>
                    <a:lnTo>
                      <a:pt x="2914650" y="200025"/>
                    </a:lnTo>
                    <a:lnTo>
                      <a:pt x="3074289" y="47625"/>
                    </a:lnTo>
                    <a:lnTo>
                      <a:pt x="3438525" y="47625"/>
                    </a:lnTo>
                    <a:lnTo>
                      <a:pt x="3733800" y="334709"/>
                    </a:lnTo>
                    <a:lnTo>
                      <a:pt x="3733800" y="1619250"/>
                    </a:lnTo>
                    <a:lnTo>
                      <a:pt x="3781425" y="1619250"/>
                    </a:lnTo>
                    <a:lnTo>
                      <a:pt x="3781425" y="381000"/>
                    </a:lnTo>
                    <a:lnTo>
                      <a:pt x="3781425" y="285750"/>
                    </a:lnTo>
                    <a:lnTo>
                      <a:pt x="3781425" y="266700"/>
                    </a:lnTo>
                    <a:lnTo>
                      <a:pt x="3505200" y="0"/>
                    </a:lnTo>
                    <a:close/>
                  </a:path>
                </a:pathLst>
              </a:custGeom>
              <a:gradFill flip="none" rotWithShape="1">
                <a:gsLst>
                  <a:gs pos="30000">
                    <a:schemeClr val="accent2">
                      <a:lumMod val="40000"/>
                      <a:lumOff val="60000"/>
                    </a:schemeClr>
                  </a:gs>
                  <a:gs pos="100000">
                    <a:schemeClr val="accent2"/>
                  </a:gs>
                </a:gsLst>
                <a:lin ang="16200000" scaled="1"/>
                <a:tileRect/>
              </a:gradFill>
              <a:ln w="9525" cap="flat">
                <a:noFill/>
                <a:prstDash val="solid"/>
                <a:miter/>
              </a:ln>
            </p:spPr>
            <p:txBody>
              <a:bodyPr rtlCol="0" anchor="ctr"/>
              <a:lstStyle/>
              <a:p>
                <a:endParaRPr lang="zh-CN" altLang="en-US"/>
              </a:p>
            </p:txBody>
          </p:sp>
          <p:sp>
            <p:nvSpPr>
              <p:cNvPr id="154" name="任意多边形: 形状 153"/>
              <p:cNvSpPr/>
              <p:nvPr/>
            </p:nvSpPr>
            <p:spPr>
              <a:xfrm>
                <a:off x="4878894" y="1321528"/>
                <a:ext cx="686154" cy="196044"/>
              </a:xfrm>
              <a:custGeom>
                <a:avLst/>
                <a:gdLst>
                  <a:gd name="connsiteX0" fmla="*/ 285750 w 400050"/>
                  <a:gd name="connsiteY0" fmla="*/ 0 h 114300"/>
                  <a:gd name="connsiteX1" fmla="*/ 0 w 400050"/>
                  <a:gd name="connsiteY1" fmla="*/ 0 h 114300"/>
                  <a:gd name="connsiteX2" fmla="*/ 114300 w 400050"/>
                  <a:gd name="connsiteY2" fmla="*/ 114300 h 114300"/>
                  <a:gd name="connsiteX3" fmla="*/ 400050 w 400050"/>
                  <a:gd name="connsiteY3" fmla="*/ 114300 h 114300"/>
                  <a:gd name="connsiteX4" fmla="*/ 285750 w 400050"/>
                  <a:gd name="connsiteY4" fmla="*/ 0 h 114300"/>
                  <a:gd name="connsiteX5" fmla="*/ 28575 w 400050"/>
                  <a:gd name="connsiteY5" fmla="*/ 9525 h 114300"/>
                  <a:gd name="connsiteX6" fmla="*/ 276225 w 400050"/>
                  <a:gd name="connsiteY6" fmla="*/ 9525 h 114300"/>
                  <a:gd name="connsiteX7" fmla="*/ 371475 w 400050"/>
                  <a:gd name="connsiteY7" fmla="*/ 104775 h 114300"/>
                  <a:gd name="connsiteX8" fmla="*/ 123825 w 400050"/>
                  <a:gd name="connsiteY8" fmla="*/ 104775 h 114300"/>
                  <a:gd name="connsiteX9" fmla="*/ 28575 w 400050"/>
                  <a:gd name="connsiteY9" fmla="*/ 9525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0050" h="114300">
                    <a:moveTo>
                      <a:pt x="285750" y="0"/>
                    </a:moveTo>
                    <a:lnTo>
                      <a:pt x="0" y="0"/>
                    </a:lnTo>
                    <a:lnTo>
                      <a:pt x="114300" y="114300"/>
                    </a:lnTo>
                    <a:lnTo>
                      <a:pt x="400050" y="114300"/>
                    </a:lnTo>
                    <a:lnTo>
                      <a:pt x="285750" y="0"/>
                    </a:lnTo>
                    <a:close/>
                    <a:moveTo>
                      <a:pt x="28575" y="9525"/>
                    </a:moveTo>
                    <a:lnTo>
                      <a:pt x="276225" y="9525"/>
                    </a:lnTo>
                    <a:lnTo>
                      <a:pt x="371475" y="104775"/>
                    </a:lnTo>
                    <a:lnTo>
                      <a:pt x="123825" y="104775"/>
                    </a:lnTo>
                    <a:lnTo>
                      <a:pt x="28575" y="9525"/>
                    </a:lnTo>
                    <a:close/>
                  </a:path>
                </a:pathLst>
              </a:custGeom>
              <a:solidFill>
                <a:schemeClr val="accent2"/>
              </a:solidFill>
              <a:ln w="9525" cap="flat">
                <a:noFill/>
                <a:prstDash val="solid"/>
                <a:miter/>
              </a:ln>
            </p:spPr>
            <p:txBody>
              <a:bodyPr rtlCol="0" anchor="ctr"/>
              <a:lstStyle/>
              <a:p>
                <a:endParaRPr lang="zh-CN" altLang="en-US"/>
              </a:p>
            </p:txBody>
          </p:sp>
          <p:grpSp>
            <p:nvGrpSpPr>
              <p:cNvPr id="155" name="组合 154"/>
              <p:cNvGrpSpPr/>
              <p:nvPr/>
            </p:nvGrpSpPr>
            <p:grpSpPr>
              <a:xfrm>
                <a:off x="5989810" y="1321528"/>
                <a:ext cx="1437656" cy="196044"/>
                <a:chOff x="5989810" y="1321528"/>
                <a:chExt cx="1437656" cy="196044"/>
              </a:xfrm>
              <a:gradFill flip="none" rotWithShape="1">
                <a:gsLst>
                  <a:gs pos="0">
                    <a:schemeClr val="accent2"/>
                  </a:gs>
                  <a:gs pos="100000">
                    <a:schemeClr val="accent1">
                      <a:alpha val="0"/>
                    </a:schemeClr>
                  </a:gs>
                </a:gsLst>
                <a:lin ang="0" scaled="1"/>
                <a:tileRect/>
              </a:gradFill>
            </p:grpSpPr>
            <p:sp>
              <p:nvSpPr>
                <p:cNvPr id="157" name="任意多边形: 形状 156"/>
                <p:cNvSpPr/>
                <p:nvPr/>
              </p:nvSpPr>
              <p:spPr>
                <a:xfrm>
                  <a:off x="7133400" y="1321528"/>
                  <a:ext cx="294066" cy="196044"/>
                </a:xfrm>
                <a:custGeom>
                  <a:avLst/>
                  <a:gdLst>
                    <a:gd name="connsiteX0" fmla="*/ 57150 w 171450"/>
                    <a:gd name="connsiteY0" fmla="*/ 0 h 114300"/>
                    <a:gd name="connsiteX1" fmla="*/ 0 w 171450"/>
                    <a:gd name="connsiteY1" fmla="*/ 0 h 114300"/>
                    <a:gd name="connsiteX2" fmla="*/ 114300 w 171450"/>
                    <a:gd name="connsiteY2" fmla="*/ 114300 h 114300"/>
                    <a:gd name="connsiteX3" fmla="*/ 171450 w 171450"/>
                    <a:gd name="connsiteY3" fmla="*/ 114300 h 114300"/>
                  </a:gdLst>
                  <a:ahLst/>
                  <a:cxnLst>
                    <a:cxn ang="0">
                      <a:pos x="connsiteX0" y="connsiteY0"/>
                    </a:cxn>
                    <a:cxn ang="0">
                      <a:pos x="connsiteX1" y="connsiteY1"/>
                    </a:cxn>
                    <a:cxn ang="0">
                      <a:pos x="connsiteX2" y="connsiteY2"/>
                    </a:cxn>
                    <a:cxn ang="0">
                      <a:pos x="connsiteX3" y="connsiteY3"/>
                    </a:cxn>
                  </a:cxnLst>
                  <a:rect l="l" t="t" r="r" b="b"/>
                  <a:pathLst>
                    <a:path w="171450" h="114300">
                      <a:moveTo>
                        <a:pt x="57150" y="0"/>
                      </a:moveTo>
                      <a:lnTo>
                        <a:pt x="0" y="0"/>
                      </a:lnTo>
                      <a:lnTo>
                        <a:pt x="114300" y="114300"/>
                      </a:lnTo>
                      <a:lnTo>
                        <a:pt x="171450" y="114300"/>
                      </a:lnTo>
                      <a:close/>
                    </a:path>
                  </a:pathLst>
                </a:custGeom>
                <a:grpFill/>
                <a:ln w="9525" cap="flat">
                  <a:noFill/>
                  <a:prstDash val="solid"/>
                  <a:miter/>
                </a:ln>
              </p:spPr>
              <p:txBody>
                <a:bodyPr rtlCol="0" anchor="ctr"/>
                <a:lstStyle/>
                <a:p>
                  <a:endParaRPr lang="zh-CN" altLang="en-US"/>
                </a:p>
              </p:txBody>
            </p:sp>
            <p:sp>
              <p:nvSpPr>
                <p:cNvPr id="158" name="任意多边形: 形状 157"/>
                <p:cNvSpPr/>
                <p:nvPr/>
              </p:nvSpPr>
              <p:spPr>
                <a:xfrm>
                  <a:off x="6970030" y="1321528"/>
                  <a:ext cx="294066" cy="196044"/>
                </a:xfrm>
                <a:custGeom>
                  <a:avLst/>
                  <a:gdLst>
                    <a:gd name="connsiteX0" fmla="*/ 0 w 171450"/>
                    <a:gd name="connsiteY0" fmla="*/ 0 h 114300"/>
                    <a:gd name="connsiteX1" fmla="*/ 114300 w 171450"/>
                    <a:gd name="connsiteY1" fmla="*/ 114300 h 114300"/>
                    <a:gd name="connsiteX2" fmla="*/ 171450 w 171450"/>
                    <a:gd name="connsiteY2" fmla="*/ 114300 h 114300"/>
                    <a:gd name="connsiteX3" fmla="*/ 57150 w 171450"/>
                    <a:gd name="connsiteY3" fmla="*/ 0 h 114300"/>
                  </a:gdLst>
                  <a:ahLst/>
                  <a:cxnLst>
                    <a:cxn ang="0">
                      <a:pos x="connsiteX0" y="connsiteY0"/>
                    </a:cxn>
                    <a:cxn ang="0">
                      <a:pos x="connsiteX1" y="connsiteY1"/>
                    </a:cxn>
                    <a:cxn ang="0">
                      <a:pos x="connsiteX2" y="connsiteY2"/>
                    </a:cxn>
                    <a:cxn ang="0">
                      <a:pos x="connsiteX3" y="connsiteY3"/>
                    </a:cxn>
                  </a:cxnLst>
                  <a:rect l="l" t="t" r="r" b="b"/>
                  <a:pathLst>
                    <a:path w="171450" h="114300">
                      <a:moveTo>
                        <a:pt x="0" y="0"/>
                      </a:moveTo>
                      <a:lnTo>
                        <a:pt x="114300" y="114300"/>
                      </a:lnTo>
                      <a:lnTo>
                        <a:pt x="171450" y="114300"/>
                      </a:lnTo>
                      <a:lnTo>
                        <a:pt x="57150" y="0"/>
                      </a:lnTo>
                      <a:close/>
                    </a:path>
                  </a:pathLst>
                </a:custGeom>
                <a:grpFill/>
                <a:ln w="9525" cap="flat">
                  <a:noFill/>
                  <a:prstDash val="solid"/>
                  <a:miter/>
                </a:ln>
              </p:spPr>
              <p:txBody>
                <a:bodyPr rtlCol="0" anchor="ctr"/>
                <a:lstStyle/>
                <a:p>
                  <a:endParaRPr lang="zh-CN" altLang="en-US"/>
                </a:p>
              </p:txBody>
            </p:sp>
            <p:sp>
              <p:nvSpPr>
                <p:cNvPr id="159" name="任意多边形: 形状 158"/>
                <p:cNvSpPr/>
                <p:nvPr/>
              </p:nvSpPr>
              <p:spPr>
                <a:xfrm>
                  <a:off x="6806660" y="1321528"/>
                  <a:ext cx="294066" cy="196044"/>
                </a:xfrm>
                <a:custGeom>
                  <a:avLst/>
                  <a:gdLst>
                    <a:gd name="connsiteX0" fmla="*/ 0 w 171450"/>
                    <a:gd name="connsiteY0" fmla="*/ 0 h 114300"/>
                    <a:gd name="connsiteX1" fmla="*/ 114300 w 171450"/>
                    <a:gd name="connsiteY1" fmla="*/ 114300 h 114300"/>
                    <a:gd name="connsiteX2" fmla="*/ 171450 w 171450"/>
                    <a:gd name="connsiteY2" fmla="*/ 114300 h 114300"/>
                    <a:gd name="connsiteX3" fmla="*/ 57150 w 171450"/>
                    <a:gd name="connsiteY3" fmla="*/ 0 h 114300"/>
                  </a:gdLst>
                  <a:ahLst/>
                  <a:cxnLst>
                    <a:cxn ang="0">
                      <a:pos x="connsiteX0" y="connsiteY0"/>
                    </a:cxn>
                    <a:cxn ang="0">
                      <a:pos x="connsiteX1" y="connsiteY1"/>
                    </a:cxn>
                    <a:cxn ang="0">
                      <a:pos x="connsiteX2" y="connsiteY2"/>
                    </a:cxn>
                    <a:cxn ang="0">
                      <a:pos x="connsiteX3" y="connsiteY3"/>
                    </a:cxn>
                  </a:cxnLst>
                  <a:rect l="l" t="t" r="r" b="b"/>
                  <a:pathLst>
                    <a:path w="171450" h="114300">
                      <a:moveTo>
                        <a:pt x="0" y="0"/>
                      </a:moveTo>
                      <a:lnTo>
                        <a:pt x="114300" y="114300"/>
                      </a:lnTo>
                      <a:lnTo>
                        <a:pt x="171450" y="114300"/>
                      </a:lnTo>
                      <a:lnTo>
                        <a:pt x="57150" y="0"/>
                      </a:lnTo>
                      <a:close/>
                    </a:path>
                  </a:pathLst>
                </a:custGeom>
                <a:grpFill/>
                <a:ln w="9525" cap="flat">
                  <a:noFill/>
                  <a:prstDash val="solid"/>
                  <a:miter/>
                </a:ln>
              </p:spPr>
              <p:txBody>
                <a:bodyPr rtlCol="0" anchor="ctr"/>
                <a:lstStyle/>
                <a:p>
                  <a:endParaRPr lang="zh-CN" altLang="en-US"/>
                </a:p>
              </p:txBody>
            </p:sp>
            <p:sp>
              <p:nvSpPr>
                <p:cNvPr id="160" name="任意多边形: 形状 159"/>
                <p:cNvSpPr/>
                <p:nvPr/>
              </p:nvSpPr>
              <p:spPr>
                <a:xfrm>
                  <a:off x="6643290" y="1321528"/>
                  <a:ext cx="294066" cy="196044"/>
                </a:xfrm>
                <a:custGeom>
                  <a:avLst/>
                  <a:gdLst>
                    <a:gd name="connsiteX0" fmla="*/ 0 w 171450"/>
                    <a:gd name="connsiteY0" fmla="*/ 0 h 114300"/>
                    <a:gd name="connsiteX1" fmla="*/ 114300 w 171450"/>
                    <a:gd name="connsiteY1" fmla="*/ 114300 h 114300"/>
                    <a:gd name="connsiteX2" fmla="*/ 171450 w 171450"/>
                    <a:gd name="connsiteY2" fmla="*/ 114300 h 114300"/>
                    <a:gd name="connsiteX3" fmla="*/ 57150 w 171450"/>
                    <a:gd name="connsiteY3" fmla="*/ 0 h 114300"/>
                  </a:gdLst>
                  <a:ahLst/>
                  <a:cxnLst>
                    <a:cxn ang="0">
                      <a:pos x="connsiteX0" y="connsiteY0"/>
                    </a:cxn>
                    <a:cxn ang="0">
                      <a:pos x="connsiteX1" y="connsiteY1"/>
                    </a:cxn>
                    <a:cxn ang="0">
                      <a:pos x="connsiteX2" y="connsiteY2"/>
                    </a:cxn>
                    <a:cxn ang="0">
                      <a:pos x="connsiteX3" y="connsiteY3"/>
                    </a:cxn>
                  </a:cxnLst>
                  <a:rect l="l" t="t" r="r" b="b"/>
                  <a:pathLst>
                    <a:path w="171450" h="114300">
                      <a:moveTo>
                        <a:pt x="0" y="0"/>
                      </a:moveTo>
                      <a:lnTo>
                        <a:pt x="114300" y="114300"/>
                      </a:lnTo>
                      <a:lnTo>
                        <a:pt x="171450" y="114300"/>
                      </a:lnTo>
                      <a:lnTo>
                        <a:pt x="57150" y="0"/>
                      </a:lnTo>
                      <a:close/>
                    </a:path>
                  </a:pathLst>
                </a:custGeom>
                <a:grpFill/>
                <a:ln w="9525" cap="flat">
                  <a:noFill/>
                  <a:prstDash val="solid"/>
                  <a:miter/>
                </a:ln>
              </p:spPr>
              <p:txBody>
                <a:bodyPr rtlCol="0" anchor="ctr"/>
                <a:lstStyle/>
                <a:p>
                  <a:endParaRPr lang="zh-CN" altLang="en-US"/>
                </a:p>
              </p:txBody>
            </p:sp>
            <p:sp>
              <p:nvSpPr>
                <p:cNvPr id="161" name="任意多边形: 形状 160"/>
                <p:cNvSpPr/>
                <p:nvPr/>
              </p:nvSpPr>
              <p:spPr>
                <a:xfrm>
                  <a:off x="6479920" y="1321528"/>
                  <a:ext cx="294066" cy="196044"/>
                </a:xfrm>
                <a:custGeom>
                  <a:avLst/>
                  <a:gdLst>
                    <a:gd name="connsiteX0" fmla="*/ 0 w 171450"/>
                    <a:gd name="connsiteY0" fmla="*/ 0 h 114300"/>
                    <a:gd name="connsiteX1" fmla="*/ 114300 w 171450"/>
                    <a:gd name="connsiteY1" fmla="*/ 114300 h 114300"/>
                    <a:gd name="connsiteX2" fmla="*/ 171450 w 171450"/>
                    <a:gd name="connsiteY2" fmla="*/ 114300 h 114300"/>
                    <a:gd name="connsiteX3" fmla="*/ 57150 w 171450"/>
                    <a:gd name="connsiteY3" fmla="*/ 0 h 114300"/>
                  </a:gdLst>
                  <a:ahLst/>
                  <a:cxnLst>
                    <a:cxn ang="0">
                      <a:pos x="connsiteX0" y="connsiteY0"/>
                    </a:cxn>
                    <a:cxn ang="0">
                      <a:pos x="connsiteX1" y="connsiteY1"/>
                    </a:cxn>
                    <a:cxn ang="0">
                      <a:pos x="connsiteX2" y="connsiteY2"/>
                    </a:cxn>
                    <a:cxn ang="0">
                      <a:pos x="connsiteX3" y="connsiteY3"/>
                    </a:cxn>
                  </a:cxnLst>
                  <a:rect l="l" t="t" r="r" b="b"/>
                  <a:pathLst>
                    <a:path w="171450" h="114300">
                      <a:moveTo>
                        <a:pt x="0" y="0"/>
                      </a:moveTo>
                      <a:lnTo>
                        <a:pt x="114300" y="114300"/>
                      </a:lnTo>
                      <a:lnTo>
                        <a:pt x="171450" y="114300"/>
                      </a:lnTo>
                      <a:lnTo>
                        <a:pt x="57150" y="0"/>
                      </a:lnTo>
                      <a:close/>
                    </a:path>
                  </a:pathLst>
                </a:custGeom>
                <a:grpFill/>
                <a:ln w="9525" cap="flat">
                  <a:noFill/>
                  <a:prstDash val="solid"/>
                  <a:miter/>
                </a:ln>
              </p:spPr>
              <p:txBody>
                <a:bodyPr rtlCol="0" anchor="ctr"/>
                <a:lstStyle/>
                <a:p>
                  <a:endParaRPr lang="zh-CN" altLang="en-US"/>
                </a:p>
              </p:txBody>
            </p:sp>
            <p:sp>
              <p:nvSpPr>
                <p:cNvPr id="162" name="任意多边形: 形状 161"/>
                <p:cNvSpPr/>
                <p:nvPr/>
              </p:nvSpPr>
              <p:spPr>
                <a:xfrm>
                  <a:off x="6316550" y="1321528"/>
                  <a:ext cx="294066" cy="196044"/>
                </a:xfrm>
                <a:custGeom>
                  <a:avLst/>
                  <a:gdLst>
                    <a:gd name="connsiteX0" fmla="*/ 0 w 171450"/>
                    <a:gd name="connsiteY0" fmla="*/ 0 h 114300"/>
                    <a:gd name="connsiteX1" fmla="*/ 114300 w 171450"/>
                    <a:gd name="connsiteY1" fmla="*/ 114300 h 114300"/>
                    <a:gd name="connsiteX2" fmla="*/ 171450 w 171450"/>
                    <a:gd name="connsiteY2" fmla="*/ 114300 h 114300"/>
                    <a:gd name="connsiteX3" fmla="*/ 57150 w 171450"/>
                    <a:gd name="connsiteY3" fmla="*/ 0 h 114300"/>
                  </a:gdLst>
                  <a:ahLst/>
                  <a:cxnLst>
                    <a:cxn ang="0">
                      <a:pos x="connsiteX0" y="connsiteY0"/>
                    </a:cxn>
                    <a:cxn ang="0">
                      <a:pos x="connsiteX1" y="connsiteY1"/>
                    </a:cxn>
                    <a:cxn ang="0">
                      <a:pos x="connsiteX2" y="connsiteY2"/>
                    </a:cxn>
                    <a:cxn ang="0">
                      <a:pos x="connsiteX3" y="connsiteY3"/>
                    </a:cxn>
                  </a:cxnLst>
                  <a:rect l="l" t="t" r="r" b="b"/>
                  <a:pathLst>
                    <a:path w="171450" h="114300">
                      <a:moveTo>
                        <a:pt x="0" y="0"/>
                      </a:moveTo>
                      <a:lnTo>
                        <a:pt x="114300" y="114300"/>
                      </a:lnTo>
                      <a:lnTo>
                        <a:pt x="171450" y="114300"/>
                      </a:lnTo>
                      <a:lnTo>
                        <a:pt x="57150" y="0"/>
                      </a:lnTo>
                      <a:close/>
                    </a:path>
                  </a:pathLst>
                </a:custGeom>
                <a:grpFill/>
                <a:ln w="9525" cap="flat">
                  <a:noFill/>
                  <a:prstDash val="solid"/>
                  <a:miter/>
                </a:ln>
              </p:spPr>
              <p:txBody>
                <a:bodyPr rtlCol="0" anchor="ctr"/>
                <a:lstStyle/>
                <a:p>
                  <a:endParaRPr lang="zh-CN" altLang="en-US"/>
                </a:p>
              </p:txBody>
            </p:sp>
            <p:sp>
              <p:nvSpPr>
                <p:cNvPr id="163" name="任意多边形: 形状 162"/>
                <p:cNvSpPr/>
                <p:nvPr/>
              </p:nvSpPr>
              <p:spPr>
                <a:xfrm>
                  <a:off x="6153180" y="1321528"/>
                  <a:ext cx="294066" cy="196044"/>
                </a:xfrm>
                <a:custGeom>
                  <a:avLst/>
                  <a:gdLst>
                    <a:gd name="connsiteX0" fmla="*/ 0 w 171450"/>
                    <a:gd name="connsiteY0" fmla="*/ 0 h 114300"/>
                    <a:gd name="connsiteX1" fmla="*/ 114300 w 171450"/>
                    <a:gd name="connsiteY1" fmla="*/ 114300 h 114300"/>
                    <a:gd name="connsiteX2" fmla="*/ 171450 w 171450"/>
                    <a:gd name="connsiteY2" fmla="*/ 114300 h 114300"/>
                    <a:gd name="connsiteX3" fmla="*/ 57150 w 171450"/>
                    <a:gd name="connsiteY3" fmla="*/ 0 h 114300"/>
                  </a:gdLst>
                  <a:ahLst/>
                  <a:cxnLst>
                    <a:cxn ang="0">
                      <a:pos x="connsiteX0" y="connsiteY0"/>
                    </a:cxn>
                    <a:cxn ang="0">
                      <a:pos x="connsiteX1" y="connsiteY1"/>
                    </a:cxn>
                    <a:cxn ang="0">
                      <a:pos x="connsiteX2" y="connsiteY2"/>
                    </a:cxn>
                    <a:cxn ang="0">
                      <a:pos x="connsiteX3" y="connsiteY3"/>
                    </a:cxn>
                  </a:cxnLst>
                  <a:rect l="l" t="t" r="r" b="b"/>
                  <a:pathLst>
                    <a:path w="171450" h="114300">
                      <a:moveTo>
                        <a:pt x="0" y="0"/>
                      </a:moveTo>
                      <a:lnTo>
                        <a:pt x="114300" y="114300"/>
                      </a:lnTo>
                      <a:lnTo>
                        <a:pt x="171450" y="114300"/>
                      </a:lnTo>
                      <a:lnTo>
                        <a:pt x="57150" y="0"/>
                      </a:lnTo>
                      <a:close/>
                    </a:path>
                  </a:pathLst>
                </a:custGeom>
                <a:grpFill/>
                <a:ln w="9525" cap="flat">
                  <a:noFill/>
                  <a:prstDash val="solid"/>
                  <a:miter/>
                </a:ln>
              </p:spPr>
              <p:txBody>
                <a:bodyPr rtlCol="0" anchor="ctr"/>
                <a:lstStyle/>
                <a:p>
                  <a:endParaRPr lang="zh-CN" altLang="en-US"/>
                </a:p>
              </p:txBody>
            </p:sp>
            <p:sp>
              <p:nvSpPr>
                <p:cNvPr id="164" name="任意多边形: 形状 163"/>
                <p:cNvSpPr/>
                <p:nvPr/>
              </p:nvSpPr>
              <p:spPr>
                <a:xfrm>
                  <a:off x="5989810" y="1321528"/>
                  <a:ext cx="294066" cy="196044"/>
                </a:xfrm>
                <a:custGeom>
                  <a:avLst/>
                  <a:gdLst>
                    <a:gd name="connsiteX0" fmla="*/ 0 w 171450"/>
                    <a:gd name="connsiteY0" fmla="*/ 0 h 114300"/>
                    <a:gd name="connsiteX1" fmla="*/ 114300 w 171450"/>
                    <a:gd name="connsiteY1" fmla="*/ 114300 h 114300"/>
                    <a:gd name="connsiteX2" fmla="*/ 171450 w 171450"/>
                    <a:gd name="connsiteY2" fmla="*/ 114300 h 114300"/>
                    <a:gd name="connsiteX3" fmla="*/ 57150 w 171450"/>
                    <a:gd name="connsiteY3" fmla="*/ 0 h 114300"/>
                  </a:gdLst>
                  <a:ahLst/>
                  <a:cxnLst>
                    <a:cxn ang="0">
                      <a:pos x="connsiteX0" y="connsiteY0"/>
                    </a:cxn>
                    <a:cxn ang="0">
                      <a:pos x="connsiteX1" y="connsiteY1"/>
                    </a:cxn>
                    <a:cxn ang="0">
                      <a:pos x="connsiteX2" y="connsiteY2"/>
                    </a:cxn>
                    <a:cxn ang="0">
                      <a:pos x="connsiteX3" y="connsiteY3"/>
                    </a:cxn>
                  </a:cxnLst>
                  <a:rect l="l" t="t" r="r" b="b"/>
                  <a:pathLst>
                    <a:path w="171450" h="114300">
                      <a:moveTo>
                        <a:pt x="0" y="0"/>
                      </a:moveTo>
                      <a:lnTo>
                        <a:pt x="114300" y="114300"/>
                      </a:lnTo>
                      <a:lnTo>
                        <a:pt x="171450" y="114300"/>
                      </a:lnTo>
                      <a:lnTo>
                        <a:pt x="57150" y="0"/>
                      </a:lnTo>
                      <a:close/>
                    </a:path>
                  </a:pathLst>
                </a:custGeom>
                <a:grpFill/>
                <a:ln w="9525" cap="flat">
                  <a:noFill/>
                  <a:prstDash val="solid"/>
                  <a:miter/>
                </a:ln>
              </p:spPr>
              <p:txBody>
                <a:bodyPr rtlCol="0" anchor="ctr"/>
                <a:lstStyle/>
                <a:p>
                  <a:endParaRPr lang="zh-CN" altLang="en-US"/>
                </a:p>
              </p:txBody>
            </p:sp>
          </p:grpSp>
          <p:sp>
            <p:nvSpPr>
              <p:cNvPr id="156" name="任意多边形: 形状 155"/>
              <p:cNvSpPr/>
              <p:nvPr/>
            </p:nvSpPr>
            <p:spPr>
              <a:xfrm>
                <a:off x="5434352" y="1321528"/>
                <a:ext cx="686154" cy="196044"/>
              </a:xfrm>
              <a:custGeom>
                <a:avLst/>
                <a:gdLst>
                  <a:gd name="connsiteX0" fmla="*/ 400050 w 400050"/>
                  <a:gd name="connsiteY0" fmla="*/ 114300 h 114300"/>
                  <a:gd name="connsiteX1" fmla="*/ 114300 w 400050"/>
                  <a:gd name="connsiteY1" fmla="*/ 114300 h 114300"/>
                  <a:gd name="connsiteX2" fmla="*/ 0 w 400050"/>
                  <a:gd name="connsiteY2" fmla="*/ 0 h 114300"/>
                  <a:gd name="connsiteX3" fmla="*/ 285750 w 400050"/>
                  <a:gd name="connsiteY3" fmla="*/ 0 h 114300"/>
                </a:gdLst>
                <a:ahLst/>
                <a:cxnLst>
                  <a:cxn ang="0">
                    <a:pos x="connsiteX0" y="connsiteY0"/>
                  </a:cxn>
                  <a:cxn ang="0">
                    <a:pos x="connsiteX1" y="connsiteY1"/>
                  </a:cxn>
                  <a:cxn ang="0">
                    <a:pos x="connsiteX2" y="connsiteY2"/>
                  </a:cxn>
                  <a:cxn ang="0">
                    <a:pos x="connsiteX3" y="connsiteY3"/>
                  </a:cxn>
                </a:cxnLst>
                <a:rect l="l" t="t" r="r" b="b"/>
                <a:pathLst>
                  <a:path w="400050" h="114300">
                    <a:moveTo>
                      <a:pt x="400050" y="114300"/>
                    </a:moveTo>
                    <a:lnTo>
                      <a:pt x="114300" y="114300"/>
                    </a:lnTo>
                    <a:lnTo>
                      <a:pt x="0" y="0"/>
                    </a:lnTo>
                    <a:lnTo>
                      <a:pt x="285750" y="0"/>
                    </a:lnTo>
                    <a:close/>
                  </a:path>
                </a:pathLst>
              </a:custGeom>
              <a:solidFill>
                <a:schemeClr val="accent2"/>
              </a:solidFill>
              <a:ln w="9525" cap="flat">
                <a:noFill/>
                <a:prstDash val="solid"/>
                <a:miter/>
              </a:ln>
            </p:spPr>
            <p:txBody>
              <a:bodyPr rtlCol="0" anchor="ctr"/>
              <a:lstStyle/>
              <a:p>
                <a:endParaRPr lang="zh-CN" altLang="en-US"/>
              </a:p>
            </p:txBody>
          </p:sp>
          <p:grpSp>
            <p:nvGrpSpPr>
              <p:cNvPr id="136" name="组合 135"/>
              <p:cNvGrpSpPr/>
              <p:nvPr/>
            </p:nvGrpSpPr>
            <p:grpSpPr>
              <a:xfrm>
                <a:off x="7770543" y="1272517"/>
                <a:ext cx="1840363" cy="98022"/>
                <a:chOff x="7072312" y="2171700"/>
                <a:chExt cx="1072991" cy="57150"/>
              </a:xfrm>
              <a:gradFill flip="none" rotWithShape="1">
                <a:gsLst>
                  <a:gs pos="0">
                    <a:schemeClr val="accent3"/>
                  </a:gs>
                  <a:gs pos="100000">
                    <a:schemeClr val="accent3">
                      <a:alpha val="0"/>
                    </a:schemeClr>
                  </a:gs>
                </a:gsLst>
                <a:lin ang="10800000" scaled="1"/>
                <a:tileRect/>
              </a:gradFill>
            </p:grpSpPr>
            <p:sp>
              <p:nvSpPr>
                <p:cNvPr id="137" name="任意多边形: 形状 136"/>
                <p:cNvSpPr/>
                <p:nvPr/>
              </p:nvSpPr>
              <p:spPr>
                <a:xfrm>
                  <a:off x="7072312" y="2171700"/>
                  <a:ext cx="85725" cy="57150"/>
                </a:xfrm>
                <a:custGeom>
                  <a:avLst/>
                  <a:gdLst>
                    <a:gd name="connsiteX0" fmla="*/ 57150 w 85725"/>
                    <a:gd name="connsiteY0" fmla="*/ 0 h 57150"/>
                    <a:gd name="connsiteX1" fmla="*/ 0 w 85725"/>
                    <a:gd name="connsiteY1" fmla="*/ 57150 h 57150"/>
                    <a:gd name="connsiteX2" fmla="*/ 28575 w 85725"/>
                    <a:gd name="connsiteY2" fmla="*/ 57150 h 57150"/>
                    <a:gd name="connsiteX3" fmla="*/ 85725 w 85725"/>
                    <a:gd name="connsiteY3" fmla="*/ 0 h 57150"/>
                  </a:gdLst>
                  <a:ahLst/>
                  <a:cxnLst>
                    <a:cxn ang="0">
                      <a:pos x="connsiteX0" y="connsiteY0"/>
                    </a:cxn>
                    <a:cxn ang="0">
                      <a:pos x="connsiteX1" y="connsiteY1"/>
                    </a:cxn>
                    <a:cxn ang="0">
                      <a:pos x="connsiteX2" y="connsiteY2"/>
                    </a:cxn>
                    <a:cxn ang="0">
                      <a:pos x="connsiteX3" y="connsiteY3"/>
                    </a:cxn>
                  </a:cxnLst>
                  <a:rect l="l" t="t" r="r" b="b"/>
                  <a:pathLst>
                    <a:path w="85725" h="57150">
                      <a:moveTo>
                        <a:pt x="57150" y="0"/>
                      </a:moveTo>
                      <a:lnTo>
                        <a:pt x="0" y="57150"/>
                      </a:lnTo>
                      <a:lnTo>
                        <a:pt x="28575" y="57150"/>
                      </a:lnTo>
                      <a:lnTo>
                        <a:pt x="85725" y="0"/>
                      </a:lnTo>
                      <a:close/>
                    </a:path>
                  </a:pathLst>
                </a:custGeom>
                <a:grpFill/>
                <a:ln w="9525" cap="flat">
                  <a:noFill/>
                  <a:prstDash val="solid"/>
                  <a:miter/>
                </a:ln>
              </p:spPr>
              <p:txBody>
                <a:bodyPr rtlCol="0" anchor="ctr"/>
                <a:lstStyle/>
                <a:p>
                  <a:endParaRPr lang="zh-CN" altLang="en-US"/>
                </a:p>
              </p:txBody>
            </p:sp>
            <p:sp>
              <p:nvSpPr>
                <p:cNvPr id="138" name="任意多边形: 形状 137"/>
                <p:cNvSpPr/>
                <p:nvPr/>
              </p:nvSpPr>
              <p:spPr>
                <a:xfrm>
                  <a:off x="7134034" y="2171700"/>
                  <a:ext cx="85725" cy="57150"/>
                </a:xfrm>
                <a:custGeom>
                  <a:avLst/>
                  <a:gdLst>
                    <a:gd name="connsiteX0" fmla="*/ 57150 w 85725"/>
                    <a:gd name="connsiteY0" fmla="*/ 0 h 57150"/>
                    <a:gd name="connsiteX1" fmla="*/ 0 w 85725"/>
                    <a:gd name="connsiteY1" fmla="*/ 57150 h 57150"/>
                    <a:gd name="connsiteX2" fmla="*/ 28575 w 85725"/>
                    <a:gd name="connsiteY2" fmla="*/ 57150 h 57150"/>
                    <a:gd name="connsiteX3" fmla="*/ 85725 w 85725"/>
                    <a:gd name="connsiteY3" fmla="*/ 0 h 57150"/>
                  </a:gdLst>
                  <a:ahLst/>
                  <a:cxnLst>
                    <a:cxn ang="0">
                      <a:pos x="connsiteX0" y="connsiteY0"/>
                    </a:cxn>
                    <a:cxn ang="0">
                      <a:pos x="connsiteX1" y="connsiteY1"/>
                    </a:cxn>
                    <a:cxn ang="0">
                      <a:pos x="connsiteX2" y="connsiteY2"/>
                    </a:cxn>
                    <a:cxn ang="0">
                      <a:pos x="connsiteX3" y="connsiteY3"/>
                    </a:cxn>
                  </a:cxnLst>
                  <a:rect l="l" t="t" r="r" b="b"/>
                  <a:pathLst>
                    <a:path w="85725" h="57150">
                      <a:moveTo>
                        <a:pt x="57150" y="0"/>
                      </a:moveTo>
                      <a:lnTo>
                        <a:pt x="0" y="57150"/>
                      </a:lnTo>
                      <a:lnTo>
                        <a:pt x="28575" y="57150"/>
                      </a:lnTo>
                      <a:lnTo>
                        <a:pt x="85725" y="0"/>
                      </a:lnTo>
                      <a:close/>
                    </a:path>
                  </a:pathLst>
                </a:custGeom>
                <a:grpFill/>
                <a:ln w="9525" cap="flat">
                  <a:noFill/>
                  <a:prstDash val="solid"/>
                  <a:miter/>
                </a:ln>
              </p:spPr>
              <p:txBody>
                <a:bodyPr rtlCol="0" anchor="ctr"/>
                <a:lstStyle/>
                <a:p>
                  <a:endParaRPr lang="zh-CN" altLang="en-US"/>
                </a:p>
              </p:txBody>
            </p:sp>
            <p:sp>
              <p:nvSpPr>
                <p:cNvPr id="139" name="任意多边形: 形状 138"/>
                <p:cNvSpPr/>
                <p:nvPr/>
              </p:nvSpPr>
              <p:spPr>
                <a:xfrm>
                  <a:off x="7195755" y="2171700"/>
                  <a:ext cx="85725" cy="57150"/>
                </a:xfrm>
                <a:custGeom>
                  <a:avLst/>
                  <a:gdLst>
                    <a:gd name="connsiteX0" fmla="*/ 57150 w 85725"/>
                    <a:gd name="connsiteY0" fmla="*/ 0 h 57150"/>
                    <a:gd name="connsiteX1" fmla="*/ 0 w 85725"/>
                    <a:gd name="connsiteY1" fmla="*/ 57150 h 57150"/>
                    <a:gd name="connsiteX2" fmla="*/ 28575 w 85725"/>
                    <a:gd name="connsiteY2" fmla="*/ 57150 h 57150"/>
                    <a:gd name="connsiteX3" fmla="*/ 85725 w 85725"/>
                    <a:gd name="connsiteY3" fmla="*/ 0 h 57150"/>
                  </a:gdLst>
                  <a:ahLst/>
                  <a:cxnLst>
                    <a:cxn ang="0">
                      <a:pos x="connsiteX0" y="connsiteY0"/>
                    </a:cxn>
                    <a:cxn ang="0">
                      <a:pos x="connsiteX1" y="connsiteY1"/>
                    </a:cxn>
                    <a:cxn ang="0">
                      <a:pos x="connsiteX2" y="connsiteY2"/>
                    </a:cxn>
                    <a:cxn ang="0">
                      <a:pos x="connsiteX3" y="connsiteY3"/>
                    </a:cxn>
                  </a:cxnLst>
                  <a:rect l="l" t="t" r="r" b="b"/>
                  <a:pathLst>
                    <a:path w="85725" h="57150">
                      <a:moveTo>
                        <a:pt x="57150" y="0"/>
                      </a:moveTo>
                      <a:lnTo>
                        <a:pt x="0" y="57150"/>
                      </a:lnTo>
                      <a:lnTo>
                        <a:pt x="28575" y="57150"/>
                      </a:lnTo>
                      <a:lnTo>
                        <a:pt x="85725" y="0"/>
                      </a:lnTo>
                      <a:close/>
                    </a:path>
                  </a:pathLst>
                </a:custGeom>
                <a:grpFill/>
                <a:ln w="9525" cap="flat">
                  <a:noFill/>
                  <a:prstDash val="solid"/>
                  <a:miter/>
                </a:ln>
              </p:spPr>
              <p:txBody>
                <a:bodyPr rtlCol="0" anchor="ctr"/>
                <a:lstStyle/>
                <a:p>
                  <a:endParaRPr lang="zh-CN" altLang="en-US"/>
                </a:p>
              </p:txBody>
            </p:sp>
            <p:sp>
              <p:nvSpPr>
                <p:cNvPr id="140" name="任意多边形: 形状 139"/>
                <p:cNvSpPr/>
                <p:nvPr/>
              </p:nvSpPr>
              <p:spPr>
                <a:xfrm>
                  <a:off x="7257382" y="2171700"/>
                  <a:ext cx="85725" cy="57150"/>
                </a:xfrm>
                <a:custGeom>
                  <a:avLst/>
                  <a:gdLst>
                    <a:gd name="connsiteX0" fmla="*/ 57150 w 85725"/>
                    <a:gd name="connsiteY0" fmla="*/ 0 h 57150"/>
                    <a:gd name="connsiteX1" fmla="*/ 0 w 85725"/>
                    <a:gd name="connsiteY1" fmla="*/ 57150 h 57150"/>
                    <a:gd name="connsiteX2" fmla="*/ 28575 w 85725"/>
                    <a:gd name="connsiteY2" fmla="*/ 57150 h 57150"/>
                    <a:gd name="connsiteX3" fmla="*/ 85725 w 85725"/>
                    <a:gd name="connsiteY3" fmla="*/ 0 h 57150"/>
                  </a:gdLst>
                  <a:ahLst/>
                  <a:cxnLst>
                    <a:cxn ang="0">
                      <a:pos x="connsiteX0" y="connsiteY0"/>
                    </a:cxn>
                    <a:cxn ang="0">
                      <a:pos x="connsiteX1" y="connsiteY1"/>
                    </a:cxn>
                    <a:cxn ang="0">
                      <a:pos x="connsiteX2" y="connsiteY2"/>
                    </a:cxn>
                    <a:cxn ang="0">
                      <a:pos x="connsiteX3" y="connsiteY3"/>
                    </a:cxn>
                  </a:cxnLst>
                  <a:rect l="l" t="t" r="r" b="b"/>
                  <a:pathLst>
                    <a:path w="85725" h="57150">
                      <a:moveTo>
                        <a:pt x="57150" y="0"/>
                      </a:moveTo>
                      <a:lnTo>
                        <a:pt x="0" y="57150"/>
                      </a:lnTo>
                      <a:lnTo>
                        <a:pt x="28575" y="57150"/>
                      </a:lnTo>
                      <a:lnTo>
                        <a:pt x="85725" y="0"/>
                      </a:lnTo>
                      <a:close/>
                    </a:path>
                  </a:pathLst>
                </a:custGeom>
                <a:grpFill/>
                <a:ln w="9525" cap="flat">
                  <a:noFill/>
                  <a:prstDash val="solid"/>
                  <a:miter/>
                </a:ln>
              </p:spPr>
              <p:txBody>
                <a:bodyPr rtlCol="0" anchor="ctr"/>
                <a:lstStyle/>
                <a:p>
                  <a:endParaRPr lang="zh-CN" altLang="en-US"/>
                </a:p>
              </p:txBody>
            </p:sp>
            <p:sp>
              <p:nvSpPr>
                <p:cNvPr id="141" name="任意多边形: 形状 140"/>
                <p:cNvSpPr/>
                <p:nvPr/>
              </p:nvSpPr>
              <p:spPr>
                <a:xfrm>
                  <a:off x="7319104" y="2171700"/>
                  <a:ext cx="85725" cy="57150"/>
                </a:xfrm>
                <a:custGeom>
                  <a:avLst/>
                  <a:gdLst>
                    <a:gd name="connsiteX0" fmla="*/ 57150 w 85725"/>
                    <a:gd name="connsiteY0" fmla="*/ 0 h 57150"/>
                    <a:gd name="connsiteX1" fmla="*/ 0 w 85725"/>
                    <a:gd name="connsiteY1" fmla="*/ 57150 h 57150"/>
                    <a:gd name="connsiteX2" fmla="*/ 28575 w 85725"/>
                    <a:gd name="connsiteY2" fmla="*/ 57150 h 57150"/>
                    <a:gd name="connsiteX3" fmla="*/ 85725 w 85725"/>
                    <a:gd name="connsiteY3" fmla="*/ 0 h 57150"/>
                  </a:gdLst>
                  <a:ahLst/>
                  <a:cxnLst>
                    <a:cxn ang="0">
                      <a:pos x="connsiteX0" y="connsiteY0"/>
                    </a:cxn>
                    <a:cxn ang="0">
                      <a:pos x="connsiteX1" y="connsiteY1"/>
                    </a:cxn>
                    <a:cxn ang="0">
                      <a:pos x="connsiteX2" y="connsiteY2"/>
                    </a:cxn>
                    <a:cxn ang="0">
                      <a:pos x="connsiteX3" y="connsiteY3"/>
                    </a:cxn>
                  </a:cxnLst>
                  <a:rect l="l" t="t" r="r" b="b"/>
                  <a:pathLst>
                    <a:path w="85725" h="57150">
                      <a:moveTo>
                        <a:pt x="57150" y="0"/>
                      </a:moveTo>
                      <a:lnTo>
                        <a:pt x="0" y="57150"/>
                      </a:lnTo>
                      <a:lnTo>
                        <a:pt x="28575" y="57150"/>
                      </a:lnTo>
                      <a:lnTo>
                        <a:pt x="85725" y="0"/>
                      </a:lnTo>
                      <a:close/>
                    </a:path>
                  </a:pathLst>
                </a:custGeom>
                <a:grpFill/>
                <a:ln w="9525" cap="flat">
                  <a:noFill/>
                  <a:prstDash val="solid"/>
                  <a:miter/>
                </a:ln>
              </p:spPr>
              <p:txBody>
                <a:bodyPr rtlCol="0" anchor="ctr"/>
                <a:lstStyle/>
                <a:p>
                  <a:endParaRPr lang="zh-CN" altLang="en-US"/>
                </a:p>
              </p:txBody>
            </p:sp>
            <p:sp>
              <p:nvSpPr>
                <p:cNvPr id="142" name="任意多边形: 形状 141"/>
                <p:cNvSpPr/>
                <p:nvPr/>
              </p:nvSpPr>
              <p:spPr>
                <a:xfrm>
                  <a:off x="7380826" y="2171700"/>
                  <a:ext cx="85725" cy="57150"/>
                </a:xfrm>
                <a:custGeom>
                  <a:avLst/>
                  <a:gdLst>
                    <a:gd name="connsiteX0" fmla="*/ 57150 w 85725"/>
                    <a:gd name="connsiteY0" fmla="*/ 0 h 57150"/>
                    <a:gd name="connsiteX1" fmla="*/ 0 w 85725"/>
                    <a:gd name="connsiteY1" fmla="*/ 57150 h 57150"/>
                    <a:gd name="connsiteX2" fmla="*/ 28575 w 85725"/>
                    <a:gd name="connsiteY2" fmla="*/ 57150 h 57150"/>
                    <a:gd name="connsiteX3" fmla="*/ 85725 w 85725"/>
                    <a:gd name="connsiteY3" fmla="*/ 0 h 57150"/>
                  </a:gdLst>
                  <a:ahLst/>
                  <a:cxnLst>
                    <a:cxn ang="0">
                      <a:pos x="connsiteX0" y="connsiteY0"/>
                    </a:cxn>
                    <a:cxn ang="0">
                      <a:pos x="connsiteX1" y="connsiteY1"/>
                    </a:cxn>
                    <a:cxn ang="0">
                      <a:pos x="connsiteX2" y="connsiteY2"/>
                    </a:cxn>
                    <a:cxn ang="0">
                      <a:pos x="connsiteX3" y="connsiteY3"/>
                    </a:cxn>
                  </a:cxnLst>
                  <a:rect l="l" t="t" r="r" b="b"/>
                  <a:pathLst>
                    <a:path w="85725" h="57150">
                      <a:moveTo>
                        <a:pt x="57150" y="0"/>
                      </a:moveTo>
                      <a:lnTo>
                        <a:pt x="0" y="57150"/>
                      </a:lnTo>
                      <a:lnTo>
                        <a:pt x="28575" y="57150"/>
                      </a:lnTo>
                      <a:lnTo>
                        <a:pt x="85725" y="0"/>
                      </a:lnTo>
                      <a:close/>
                    </a:path>
                  </a:pathLst>
                </a:custGeom>
                <a:grpFill/>
                <a:ln w="9525" cap="flat">
                  <a:noFill/>
                  <a:prstDash val="solid"/>
                  <a:miter/>
                </a:ln>
              </p:spPr>
              <p:txBody>
                <a:bodyPr rtlCol="0" anchor="ctr"/>
                <a:lstStyle/>
                <a:p>
                  <a:endParaRPr lang="zh-CN" altLang="en-US"/>
                </a:p>
              </p:txBody>
            </p:sp>
            <p:sp>
              <p:nvSpPr>
                <p:cNvPr id="143" name="任意多边形: 形状 142"/>
                <p:cNvSpPr/>
                <p:nvPr/>
              </p:nvSpPr>
              <p:spPr>
                <a:xfrm>
                  <a:off x="7442548" y="2171700"/>
                  <a:ext cx="85725" cy="57150"/>
                </a:xfrm>
                <a:custGeom>
                  <a:avLst/>
                  <a:gdLst>
                    <a:gd name="connsiteX0" fmla="*/ 57150 w 85725"/>
                    <a:gd name="connsiteY0" fmla="*/ 0 h 57150"/>
                    <a:gd name="connsiteX1" fmla="*/ 0 w 85725"/>
                    <a:gd name="connsiteY1" fmla="*/ 57150 h 57150"/>
                    <a:gd name="connsiteX2" fmla="*/ 28575 w 85725"/>
                    <a:gd name="connsiteY2" fmla="*/ 57150 h 57150"/>
                    <a:gd name="connsiteX3" fmla="*/ 85725 w 85725"/>
                    <a:gd name="connsiteY3" fmla="*/ 0 h 57150"/>
                  </a:gdLst>
                  <a:ahLst/>
                  <a:cxnLst>
                    <a:cxn ang="0">
                      <a:pos x="connsiteX0" y="connsiteY0"/>
                    </a:cxn>
                    <a:cxn ang="0">
                      <a:pos x="connsiteX1" y="connsiteY1"/>
                    </a:cxn>
                    <a:cxn ang="0">
                      <a:pos x="connsiteX2" y="connsiteY2"/>
                    </a:cxn>
                    <a:cxn ang="0">
                      <a:pos x="connsiteX3" y="connsiteY3"/>
                    </a:cxn>
                  </a:cxnLst>
                  <a:rect l="l" t="t" r="r" b="b"/>
                  <a:pathLst>
                    <a:path w="85725" h="57150">
                      <a:moveTo>
                        <a:pt x="57150" y="0"/>
                      </a:moveTo>
                      <a:lnTo>
                        <a:pt x="0" y="57150"/>
                      </a:lnTo>
                      <a:lnTo>
                        <a:pt x="28575" y="57150"/>
                      </a:lnTo>
                      <a:lnTo>
                        <a:pt x="85725" y="0"/>
                      </a:lnTo>
                      <a:close/>
                    </a:path>
                  </a:pathLst>
                </a:custGeom>
                <a:grpFill/>
                <a:ln w="9525" cap="flat">
                  <a:noFill/>
                  <a:prstDash val="solid"/>
                  <a:miter/>
                </a:ln>
              </p:spPr>
              <p:txBody>
                <a:bodyPr rtlCol="0" anchor="ctr"/>
                <a:lstStyle/>
                <a:p>
                  <a:endParaRPr lang="zh-CN" altLang="en-US"/>
                </a:p>
              </p:txBody>
            </p:sp>
            <p:sp>
              <p:nvSpPr>
                <p:cNvPr id="144" name="任意多边形: 形状 143"/>
                <p:cNvSpPr/>
                <p:nvPr/>
              </p:nvSpPr>
              <p:spPr>
                <a:xfrm>
                  <a:off x="7504270" y="2171700"/>
                  <a:ext cx="85725" cy="57150"/>
                </a:xfrm>
                <a:custGeom>
                  <a:avLst/>
                  <a:gdLst>
                    <a:gd name="connsiteX0" fmla="*/ 57150 w 85725"/>
                    <a:gd name="connsiteY0" fmla="*/ 0 h 57150"/>
                    <a:gd name="connsiteX1" fmla="*/ 0 w 85725"/>
                    <a:gd name="connsiteY1" fmla="*/ 57150 h 57150"/>
                    <a:gd name="connsiteX2" fmla="*/ 28575 w 85725"/>
                    <a:gd name="connsiteY2" fmla="*/ 57150 h 57150"/>
                    <a:gd name="connsiteX3" fmla="*/ 85725 w 85725"/>
                    <a:gd name="connsiteY3" fmla="*/ 0 h 57150"/>
                  </a:gdLst>
                  <a:ahLst/>
                  <a:cxnLst>
                    <a:cxn ang="0">
                      <a:pos x="connsiteX0" y="connsiteY0"/>
                    </a:cxn>
                    <a:cxn ang="0">
                      <a:pos x="connsiteX1" y="connsiteY1"/>
                    </a:cxn>
                    <a:cxn ang="0">
                      <a:pos x="connsiteX2" y="connsiteY2"/>
                    </a:cxn>
                    <a:cxn ang="0">
                      <a:pos x="connsiteX3" y="connsiteY3"/>
                    </a:cxn>
                  </a:cxnLst>
                  <a:rect l="l" t="t" r="r" b="b"/>
                  <a:pathLst>
                    <a:path w="85725" h="57150">
                      <a:moveTo>
                        <a:pt x="57150" y="0"/>
                      </a:moveTo>
                      <a:lnTo>
                        <a:pt x="0" y="57150"/>
                      </a:lnTo>
                      <a:lnTo>
                        <a:pt x="28575" y="57150"/>
                      </a:lnTo>
                      <a:lnTo>
                        <a:pt x="85725" y="0"/>
                      </a:lnTo>
                      <a:close/>
                    </a:path>
                  </a:pathLst>
                </a:custGeom>
                <a:grpFill/>
                <a:ln w="9525" cap="flat">
                  <a:noFill/>
                  <a:prstDash val="solid"/>
                  <a:miter/>
                </a:ln>
              </p:spPr>
              <p:txBody>
                <a:bodyPr rtlCol="0" anchor="ctr"/>
                <a:lstStyle/>
                <a:p>
                  <a:endParaRPr lang="zh-CN" altLang="en-US"/>
                </a:p>
              </p:txBody>
            </p:sp>
            <p:sp>
              <p:nvSpPr>
                <p:cNvPr id="145" name="任意多边形: 形状 144"/>
                <p:cNvSpPr/>
                <p:nvPr/>
              </p:nvSpPr>
              <p:spPr>
                <a:xfrm>
                  <a:off x="7565992" y="2171700"/>
                  <a:ext cx="85725" cy="57150"/>
                </a:xfrm>
                <a:custGeom>
                  <a:avLst/>
                  <a:gdLst>
                    <a:gd name="connsiteX0" fmla="*/ 57150 w 85725"/>
                    <a:gd name="connsiteY0" fmla="*/ 0 h 57150"/>
                    <a:gd name="connsiteX1" fmla="*/ 0 w 85725"/>
                    <a:gd name="connsiteY1" fmla="*/ 57150 h 57150"/>
                    <a:gd name="connsiteX2" fmla="*/ 28575 w 85725"/>
                    <a:gd name="connsiteY2" fmla="*/ 57150 h 57150"/>
                    <a:gd name="connsiteX3" fmla="*/ 85725 w 85725"/>
                    <a:gd name="connsiteY3" fmla="*/ 0 h 57150"/>
                  </a:gdLst>
                  <a:ahLst/>
                  <a:cxnLst>
                    <a:cxn ang="0">
                      <a:pos x="connsiteX0" y="connsiteY0"/>
                    </a:cxn>
                    <a:cxn ang="0">
                      <a:pos x="connsiteX1" y="connsiteY1"/>
                    </a:cxn>
                    <a:cxn ang="0">
                      <a:pos x="connsiteX2" y="connsiteY2"/>
                    </a:cxn>
                    <a:cxn ang="0">
                      <a:pos x="connsiteX3" y="connsiteY3"/>
                    </a:cxn>
                  </a:cxnLst>
                  <a:rect l="l" t="t" r="r" b="b"/>
                  <a:pathLst>
                    <a:path w="85725" h="57150">
                      <a:moveTo>
                        <a:pt x="57150" y="0"/>
                      </a:moveTo>
                      <a:lnTo>
                        <a:pt x="0" y="57150"/>
                      </a:lnTo>
                      <a:lnTo>
                        <a:pt x="28575" y="57150"/>
                      </a:lnTo>
                      <a:lnTo>
                        <a:pt x="85725" y="0"/>
                      </a:lnTo>
                      <a:close/>
                    </a:path>
                  </a:pathLst>
                </a:custGeom>
                <a:grpFill/>
                <a:ln w="9525" cap="flat">
                  <a:noFill/>
                  <a:prstDash val="solid"/>
                  <a:miter/>
                </a:ln>
              </p:spPr>
              <p:txBody>
                <a:bodyPr rtlCol="0" anchor="ctr"/>
                <a:lstStyle/>
                <a:p>
                  <a:endParaRPr lang="zh-CN" altLang="en-US"/>
                </a:p>
              </p:txBody>
            </p:sp>
            <p:sp>
              <p:nvSpPr>
                <p:cNvPr id="146" name="任意多边形: 形状 145"/>
                <p:cNvSpPr/>
                <p:nvPr/>
              </p:nvSpPr>
              <p:spPr>
                <a:xfrm>
                  <a:off x="7627619" y="2171700"/>
                  <a:ext cx="85725" cy="57150"/>
                </a:xfrm>
                <a:custGeom>
                  <a:avLst/>
                  <a:gdLst>
                    <a:gd name="connsiteX0" fmla="*/ 57150 w 85725"/>
                    <a:gd name="connsiteY0" fmla="*/ 0 h 57150"/>
                    <a:gd name="connsiteX1" fmla="*/ 0 w 85725"/>
                    <a:gd name="connsiteY1" fmla="*/ 57150 h 57150"/>
                    <a:gd name="connsiteX2" fmla="*/ 28575 w 85725"/>
                    <a:gd name="connsiteY2" fmla="*/ 57150 h 57150"/>
                    <a:gd name="connsiteX3" fmla="*/ 85725 w 85725"/>
                    <a:gd name="connsiteY3" fmla="*/ 0 h 57150"/>
                  </a:gdLst>
                  <a:ahLst/>
                  <a:cxnLst>
                    <a:cxn ang="0">
                      <a:pos x="connsiteX0" y="connsiteY0"/>
                    </a:cxn>
                    <a:cxn ang="0">
                      <a:pos x="connsiteX1" y="connsiteY1"/>
                    </a:cxn>
                    <a:cxn ang="0">
                      <a:pos x="connsiteX2" y="connsiteY2"/>
                    </a:cxn>
                    <a:cxn ang="0">
                      <a:pos x="connsiteX3" y="connsiteY3"/>
                    </a:cxn>
                  </a:cxnLst>
                  <a:rect l="l" t="t" r="r" b="b"/>
                  <a:pathLst>
                    <a:path w="85725" h="57150">
                      <a:moveTo>
                        <a:pt x="57150" y="0"/>
                      </a:moveTo>
                      <a:lnTo>
                        <a:pt x="0" y="57150"/>
                      </a:lnTo>
                      <a:lnTo>
                        <a:pt x="28575" y="57150"/>
                      </a:lnTo>
                      <a:lnTo>
                        <a:pt x="85725" y="0"/>
                      </a:lnTo>
                      <a:close/>
                    </a:path>
                  </a:pathLst>
                </a:custGeom>
                <a:grpFill/>
                <a:ln w="9525" cap="flat">
                  <a:noFill/>
                  <a:prstDash val="solid"/>
                  <a:miter/>
                </a:ln>
              </p:spPr>
              <p:txBody>
                <a:bodyPr rtlCol="0" anchor="ctr"/>
                <a:lstStyle/>
                <a:p>
                  <a:endParaRPr lang="zh-CN" altLang="en-US"/>
                </a:p>
              </p:txBody>
            </p:sp>
            <p:sp>
              <p:nvSpPr>
                <p:cNvPr id="147" name="任意多边形: 形状 146"/>
                <p:cNvSpPr/>
                <p:nvPr/>
              </p:nvSpPr>
              <p:spPr>
                <a:xfrm>
                  <a:off x="7689341" y="2171700"/>
                  <a:ext cx="85725" cy="57150"/>
                </a:xfrm>
                <a:custGeom>
                  <a:avLst/>
                  <a:gdLst>
                    <a:gd name="connsiteX0" fmla="*/ 57150 w 85725"/>
                    <a:gd name="connsiteY0" fmla="*/ 0 h 57150"/>
                    <a:gd name="connsiteX1" fmla="*/ 0 w 85725"/>
                    <a:gd name="connsiteY1" fmla="*/ 57150 h 57150"/>
                    <a:gd name="connsiteX2" fmla="*/ 28575 w 85725"/>
                    <a:gd name="connsiteY2" fmla="*/ 57150 h 57150"/>
                    <a:gd name="connsiteX3" fmla="*/ 85725 w 85725"/>
                    <a:gd name="connsiteY3" fmla="*/ 0 h 57150"/>
                  </a:gdLst>
                  <a:ahLst/>
                  <a:cxnLst>
                    <a:cxn ang="0">
                      <a:pos x="connsiteX0" y="connsiteY0"/>
                    </a:cxn>
                    <a:cxn ang="0">
                      <a:pos x="connsiteX1" y="connsiteY1"/>
                    </a:cxn>
                    <a:cxn ang="0">
                      <a:pos x="connsiteX2" y="connsiteY2"/>
                    </a:cxn>
                    <a:cxn ang="0">
                      <a:pos x="connsiteX3" y="connsiteY3"/>
                    </a:cxn>
                  </a:cxnLst>
                  <a:rect l="l" t="t" r="r" b="b"/>
                  <a:pathLst>
                    <a:path w="85725" h="57150">
                      <a:moveTo>
                        <a:pt x="57150" y="0"/>
                      </a:moveTo>
                      <a:lnTo>
                        <a:pt x="0" y="57150"/>
                      </a:lnTo>
                      <a:lnTo>
                        <a:pt x="28575" y="57150"/>
                      </a:lnTo>
                      <a:lnTo>
                        <a:pt x="85725" y="0"/>
                      </a:lnTo>
                      <a:close/>
                    </a:path>
                  </a:pathLst>
                </a:custGeom>
                <a:grpFill/>
                <a:ln w="9525" cap="flat">
                  <a:noFill/>
                  <a:prstDash val="solid"/>
                  <a:miter/>
                </a:ln>
              </p:spPr>
              <p:txBody>
                <a:bodyPr rtlCol="0" anchor="ctr"/>
                <a:lstStyle/>
                <a:p>
                  <a:endParaRPr lang="zh-CN" altLang="en-US"/>
                </a:p>
              </p:txBody>
            </p:sp>
            <p:sp>
              <p:nvSpPr>
                <p:cNvPr id="148" name="任意多边形: 形状 147"/>
                <p:cNvSpPr/>
                <p:nvPr/>
              </p:nvSpPr>
              <p:spPr>
                <a:xfrm>
                  <a:off x="7751063" y="2171700"/>
                  <a:ext cx="85725" cy="57150"/>
                </a:xfrm>
                <a:custGeom>
                  <a:avLst/>
                  <a:gdLst>
                    <a:gd name="connsiteX0" fmla="*/ 57150 w 85725"/>
                    <a:gd name="connsiteY0" fmla="*/ 0 h 57150"/>
                    <a:gd name="connsiteX1" fmla="*/ 0 w 85725"/>
                    <a:gd name="connsiteY1" fmla="*/ 57150 h 57150"/>
                    <a:gd name="connsiteX2" fmla="*/ 28575 w 85725"/>
                    <a:gd name="connsiteY2" fmla="*/ 57150 h 57150"/>
                    <a:gd name="connsiteX3" fmla="*/ 85725 w 85725"/>
                    <a:gd name="connsiteY3" fmla="*/ 0 h 57150"/>
                  </a:gdLst>
                  <a:ahLst/>
                  <a:cxnLst>
                    <a:cxn ang="0">
                      <a:pos x="connsiteX0" y="connsiteY0"/>
                    </a:cxn>
                    <a:cxn ang="0">
                      <a:pos x="connsiteX1" y="connsiteY1"/>
                    </a:cxn>
                    <a:cxn ang="0">
                      <a:pos x="connsiteX2" y="connsiteY2"/>
                    </a:cxn>
                    <a:cxn ang="0">
                      <a:pos x="connsiteX3" y="connsiteY3"/>
                    </a:cxn>
                  </a:cxnLst>
                  <a:rect l="l" t="t" r="r" b="b"/>
                  <a:pathLst>
                    <a:path w="85725" h="57150">
                      <a:moveTo>
                        <a:pt x="57150" y="0"/>
                      </a:moveTo>
                      <a:lnTo>
                        <a:pt x="0" y="57150"/>
                      </a:lnTo>
                      <a:lnTo>
                        <a:pt x="28575" y="57150"/>
                      </a:lnTo>
                      <a:lnTo>
                        <a:pt x="85725" y="0"/>
                      </a:lnTo>
                      <a:close/>
                    </a:path>
                  </a:pathLst>
                </a:custGeom>
                <a:grpFill/>
                <a:ln w="9525" cap="flat">
                  <a:noFill/>
                  <a:prstDash val="solid"/>
                  <a:miter/>
                </a:ln>
              </p:spPr>
              <p:txBody>
                <a:bodyPr rtlCol="0" anchor="ctr"/>
                <a:lstStyle/>
                <a:p>
                  <a:endParaRPr lang="zh-CN" altLang="en-US"/>
                </a:p>
              </p:txBody>
            </p:sp>
            <p:sp>
              <p:nvSpPr>
                <p:cNvPr id="149" name="任意多边形: 形状 148"/>
                <p:cNvSpPr/>
                <p:nvPr/>
              </p:nvSpPr>
              <p:spPr>
                <a:xfrm>
                  <a:off x="7812785" y="2171700"/>
                  <a:ext cx="85725" cy="57150"/>
                </a:xfrm>
                <a:custGeom>
                  <a:avLst/>
                  <a:gdLst>
                    <a:gd name="connsiteX0" fmla="*/ 57150 w 85725"/>
                    <a:gd name="connsiteY0" fmla="*/ 0 h 57150"/>
                    <a:gd name="connsiteX1" fmla="*/ 0 w 85725"/>
                    <a:gd name="connsiteY1" fmla="*/ 57150 h 57150"/>
                    <a:gd name="connsiteX2" fmla="*/ 28575 w 85725"/>
                    <a:gd name="connsiteY2" fmla="*/ 57150 h 57150"/>
                    <a:gd name="connsiteX3" fmla="*/ 85725 w 85725"/>
                    <a:gd name="connsiteY3" fmla="*/ 0 h 57150"/>
                  </a:gdLst>
                  <a:ahLst/>
                  <a:cxnLst>
                    <a:cxn ang="0">
                      <a:pos x="connsiteX0" y="connsiteY0"/>
                    </a:cxn>
                    <a:cxn ang="0">
                      <a:pos x="connsiteX1" y="connsiteY1"/>
                    </a:cxn>
                    <a:cxn ang="0">
                      <a:pos x="connsiteX2" y="connsiteY2"/>
                    </a:cxn>
                    <a:cxn ang="0">
                      <a:pos x="connsiteX3" y="connsiteY3"/>
                    </a:cxn>
                  </a:cxnLst>
                  <a:rect l="l" t="t" r="r" b="b"/>
                  <a:pathLst>
                    <a:path w="85725" h="57150">
                      <a:moveTo>
                        <a:pt x="57150" y="0"/>
                      </a:moveTo>
                      <a:lnTo>
                        <a:pt x="0" y="57150"/>
                      </a:lnTo>
                      <a:lnTo>
                        <a:pt x="28575" y="57150"/>
                      </a:lnTo>
                      <a:lnTo>
                        <a:pt x="85725" y="0"/>
                      </a:lnTo>
                      <a:close/>
                    </a:path>
                  </a:pathLst>
                </a:custGeom>
                <a:grpFill/>
                <a:ln w="9525" cap="flat">
                  <a:noFill/>
                  <a:prstDash val="solid"/>
                  <a:miter/>
                </a:ln>
              </p:spPr>
              <p:txBody>
                <a:bodyPr rtlCol="0" anchor="ctr"/>
                <a:lstStyle/>
                <a:p>
                  <a:endParaRPr lang="zh-CN" altLang="en-US"/>
                </a:p>
              </p:txBody>
            </p:sp>
            <p:sp>
              <p:nvSpPr>
                <p:cNvPr id="150" name="任意多边形: 形状 149"/>
                <p:cNvSpPr/>
                <p:nvPr/>
              </p:nvSpPr>
              <p:spPr>
                <a:xfrm>
                  <a:off x="7874507" y="2171700"/>
                  <a:ext cx="85725" cy="57150"/>
                </a:xfrm>
                <a:custGeom>
                  <a:avLst/>
                  <a:gdLst>
                    <a:gd name="connsiteX0" fmla="*/ 57150 w 85725"/>
                    <a:gd name="connsiteY0" fmla="*/ 0 h 57150"/>
                    <a:gd name="connsiteX1" fmla="*/ 0 w 85725"/>
                    <a:gd name="connsiteY1" fmla="*/ 57150 h 57150"/>
                    <a:gd name="connsiteX2" fmla="*/ 28575 w 85725"/>
                    <a:gd name="connsiteY2" fmla="*/ 57150 h 57150"/>
                    <a:gd name="connsiteX3" fmla="*/ 85725 w 85725"/>
                    <a:gd name="connsiteY3" fmla="*/ 0 h 57150"/>
                  </a:gdLst>
                  <a:ahLst/>
                  <a:cxnLst>
                    <a:cxn ang="0">
                      <a:pos x="connsiteX0" y="connsiteY0"/>
                    </a:cxn>
                    <a:cxn ang="0">
                      <a:pos x="connsiteX1" y="connsiteY1"/>
                    </a:cxn>
                    <a:cxn ang="0">
                      <a:pos x="connsiteX2" y="connsiteY2"/>
                    </a:cxn>
                    <a:cxn ang="0">
                      <a:pos x="connsiteX3" y="connsiteY3"/>
                    </a:cxn>
                  </a:cxnLst>
                  <a:rect l="l" t="t" r="r" b="b"/>
                  <a:pathLst>
                    <a:path w="85725" h="57150">
                      <a:moveTo>
                        <a:pt x="57150" y="0"/>
                      </a:moveTo>
                      <a:lnTo>
                        <a:pt x="0" y="57150"/>
                      </a:lnTo>
                      <a:lnTo>
                        <a:pt x="28575" y="57150"/>
                      </a:lnTo>
                      <a:lnTo>
                        <a:pt x="85725" y="0"/>
                      </a:lnTo>
                      <a:close/>
                    </a:path>
                  </a:pathLst>
                </a:custGeom>
                <a:grpFill/>
                <a:ln w="9525" cap="flat">
                  <a:noFill/>
                  <a:prstDash val="solid"/>
                  <a:miter/>
                </a:ln>
              </p:spPr>
              <p:txBody>
                <a:bodyPr rtlCol="0" anchor="ctr"/>
                <a:lstStyle/>
                <a:p>
                  <a:endParaRPr lang="zh-CN" altLang="en-US"/>
                </a:p>
              </p:txBody>
            </p:sp>
            <p:sp>
              <p:nvSpPr>
                <p:cNvPr id="151" name="任意多边形: 形状 150"/>
                <p:cNvSpPr/>
                <p:nvPr/>
              </p:nvSpPr>
              <p:spPr>
                <a:xfrm>
                  <a:off x="7936229" y="2171700"/>
                  <a:ext cx="85725" cy="57150"/>
                </a:xfrm>
                <a:custGeom>
                  <a:avLst/>
                  <a:gdLst>
                    <a:gd name="connsiteX0" fmla="*/ 57150 w 85725"/>
                    <a:gd name="connsiteY0" fmla="*/ 0 h 57150"/>
                    <a:gd name="connsiteX1" fmla="*/ 0 w 85725"/>
                    <a:gd name="connsiteY1" fmla="*/ 57150 h 57150"/>
                    <a:gd name="connsiteX2" fmla="*/ 28575 w 85725"/>
                    <a:gd name="connsiteY2" fmla="*/ 57150 h 57150"/>
                    <a:gd name="connsiteX3" fmla="*/ 85725 w 85725"/>
                    <a:gd name="connsiteY3" fmla="*/ 0 h 57150"/>
                  </a:gdLst>
                  <a:ahLst/>
                  <a:cxnLst>
                    <a:cxn ang="0">
                      <a:pos x="connsiteX0" y="connsiteY0"/>
                    </a:cxn>
                    <a:cxn ang="0">
                      <a:pos x="connsiteX1" y="connsiteY1"/>
                    </a:cxn>
                    <a:cxn ang="0">
                      <a:pos x="connsiteX2" y="connsiteY2"/>
                    </a:cxn>
                    <a:cxn ang="0">
                      <a:pos x="connsiteX3" y="connsiteY3"/>
                    </a:cxn>
                  </a:cxnLst>
                  <a:rect l="l" t="t" r="r" b="b"/>
                  <a:pathLst>
                    <a:path w="85725" h="57150">
                      <a:moveTo>
                        <a:pt x="57150" y="0"/>
                      </a:moveTo>
                      <a:lnTo>
                        <a:pt x="0" y="57150"/>
                      </a:lnTo>
                      <a:lnTo>
                        <a:pt x="28575" y="57150"/>
                      </a:lnTo>
                      <a:lnTo>
                        <a:pt x="85725" y="0"/>
                      </a:lnTo>
                      <a:close/>
                    </a:path>
                  </a:pathLst>
                </a:custGeom>
                <a:grpFill/>
                <a:ln w="9525" cap="flat">
                  <a:noFill/>
                  <a:prstDash val="solid"/>
                  <a:miter/>
                </a:ln>
              </p:spPr>
              <p:txBody>
                <a:bodyPr rtlCol="0" anchor="ctr"/>
                <a:lstStyle/>
                <a:p>
                  <a:endParaRPr lang="zh-CN" altLang="en-US"/>
                </a:p>
              </p:txBody>
            </p:sp>
            <p:sp>
              <p:nvSpPr>
                <p:cNvPr id="152" name="任意多边形: 形状 151"/>
                <p:cNvSpPr/>
                <p:nvPr/>
              </p:nvSpPr>
              <p:spPr>
                <a:xfrm>
                  <a:off x="7997856" y="2171700"/>
                  <a:ext cx="85724" cy="57150"/>
                </a:xfrm>
                <a:custGeom>
                  <a:avLst/>
                  <a:gdLst>
                    <a:gd name="connsiteX0" fmla="*/ 57150 w 85724"/>
                    <a:gd name="connsiteY0" fmla="*/ 0 h 57150"/>
                    <a:gd name="connsiteX1" fmla="*/ 0 w 85724"/>
                    <a:gd name="connsiteY1" fmla="*/ 57150 h 57150"/>
                    <a:gd name="connsiteX2" fmla="*/ 28575 w 85724"/>
                    <a:gd name="connsiteY2" fmla="*/ 57150 h 57150"/>
                    <a:gd name="connsiteX3" fmla="*/ 85725 w 85724"/>
                    <a:gd name="connsiteY3" fmla="*/ 0 h 57150"/>
                  </a:gdLst>
                  <a:ahLst/>
                  <a:cxnLst>
                    <a:cxn ang="0">
                      <a:pos x="connsiteX0" y="connsiteY0"/>
                    </a:cxn>
                    <a:cxn ang="0">
                      <a:pos x="connsiteX1" y="connsiteY1"/>
                    </a:cxn>
                    <a:cxn ang="0">
                      <a:pos x="connsiteX2" y="connsiteY2"/>
                    </a:cxn>
                    <a:cxn ang="0">
                      <a:pos x="connsiteX3" y="connsiteY3"/>
                    </a:cxn>
                  </a:cxnLst>
                  <a:rect l="l" t="t" r="r" b="b"/>
                  <a:pathLst>
                    <a:path w="85724" h="57150">
                      <a:moveTo>
                        <a:pt x="57150" y="0"/>
                      </a:moveTo>
                      <a:lnTo>
                        <a:pt x="0" y="57150"/>
                      </a:lnTo>
                      <a:lnTo>
                        <a:pt x="28575" y="57150"/>
                      </a:lnTo>
                      <a:lnTo>
                        <a:pt x="85725" y="0"/>
                      </a:lnTo>
                      <a:close/>
                    </a:path>
                  </a:pathLst>
                </a:custGeom>
                <a:grpFill/>
                <a:ln w="9525" cap="flat">
                  <a:noFill/>
                  <a:prstDash val="solid"/>
                  <a:miter/>
                </a:ln>
              </p:spPr>
              <p:txBody>
                <a:bodyPr rtlCol="0" anchor="ctr"/>
                <a:lstStyle/>
                <a:p>
                  <a:endParaRPr lang="zh-CN" altLang="en-US"/>
                </a:p>
              </p:txBody>
            </p:sp>
            <p:sp>
              <p:nvSpPr>
                <p:cNvPr id="153" name="任意多边形: 形状 152"/>
                <p:cNvSpPr/>
                <p:nvPr/>
              </p:nvSpPr>
              <p:spPr>
                <a:xfrm>
                  <a:off x="8059578" y="2171700"/>
                  <a:ext cx="85725" cy="57150"/>
                </a:xfrm>
                <a:custGeom>
                  <a:avLst/>
                  <a:gdLst>
                    <a:gd name="connsiteX0" fmla="*/ 57150 w 85725"/>
                    <a:gd name="connsiteY0" fmla="*/ 0 h 57150"/>
                    <a:gd name="connsiteX1" fmla="*/ 0 w 85725"/>
                    <a:gd name="connsiteY1" fmla="*/ 57150 h 57150"/>
                    <a:gd name="connsiteX2" fmla="*/ 28575 w 85725"/>
                    <a:gd name="connsiteY2" fmla="*/ 57150 h 57150"/>
                    <a:gd name="connsiteX3" fmla="*/ 85725 w 85725"/>
                    <a:gd name="connsiteY3" fmla="*/ 0 h 57150"/>
                  </a:gdLst>
                  <a:ahLst/>
                  <a:cxnLst>
                    <a:cxn ang="0">
                      <a:pos x="connsiteX0" y="connsiteY0"/>
                    </a:cxn>
                    <a:cxn ang="0">
                      <a:pos x="connsiteX1" y="connsiteY1"/>
                    </a:cxn>
                    <a:cxn ang="0">
                      <a:pos x="connsiteX2" y="connsiteY2"/>
                    </a:cxn>
                    <a:cxn ang="0">
                      <a:pos x="connsiteX3" y="connsiteY3"/>
                    </a:cxn>
                  </a:cxnLst>
                  <a:rect l="l" t="t" r="r" b="b"/>
                  <a:pathLst>
                    <a:path w="85725" h="57150">
                      <a:moveTo>
                        <a:pt x="57150" y="0"/>
                      </a:moveTo>
                      <a:lnTo>
                        <a:pt x="0" y="57150"/>
                      </a:lnTo>
                      <a:lnTo>
                        <a:pt x="28575" y="57150"/>
                      </a:lnTo>
                      <a:lnTo>
                        <a:pt x="85725" y="0"/>
                      </a:lnTo>
                      <a:close/>
                    </a:path>
                  </a:pathLst>
                </a:custGeom>
                <a:grpFill/>
                <a:ln w="9525" cap="flat">
                  <a:noFill/>
                  <a:prstDash val="solid"/>
                  <a:miter/>
                </a:ln>
              </p:spPr>
              <p:txBody>
                <a:bodyPr rtlCol="0" anchor="ctr"/>
                <a:lstStyle/>
                <a:p>
                  <a:endParaRPr lang="zh-CN" altLang="en-US"/>
                </a:p>
              </p:txBody>
            </p:sp>
          </p:grpSp>
        </p:grpSp>
        <p:pic>
          <p:nvPicPr>
            <p:cNvPr id="114" name="图片 113"/>
            <p:cNvPicPr>
              <a:picLocks noChangeAspect="1"/>
            </p:cNvPicPr>
            <p:nvPr/>
          </p:nvPicPr>
          <p:blipFill>
            <a:blip r:embed="rId3" cstate="screen"/>
            <a:stretch>
              <a:fillRect/>
            </a:stretch>
          </p:blipFill>
          <p:spPr>
            <a:xfrm>
              <a:off x="4200491" y="2247764"/>
              <a:ext cx="3662683" cy="2104687"/>
            </a:xfrm>
            <a:prstGeom prst="rect">
              <a:avLst/>
            </a:prstGeom>
          </p:spPr>
        </p:pic>
      </p:grpSp>
      <p:sp>
        <p:nvSpPr>
          <p:cNvPr id="5" name="标题 4"/>
          <p:cNvSpPr>
            <a:spLocks noGrp="1"/>
          </p:cNvSpPr>
          <p:nvPr>
            <p:ph type="ctrTitle" hasCustomPrompt="1"/>
          </p:nvPr>
        </p:nvSpPr>
        <p:spPr>
          <a:xfrm>
            <a:off x="1611862" y="1616513"/>
            <a:ext cx="8955576" cy="1740296"/>
          </a:xfrm>
          <a:prstGeom prst="rect">
            <a:avLst/>
          </a:prstGeom>
          <a:noFill/>
        </p:spPr>
        <p:txBody>
          <a:bodyPr wrap="square" anchor="b">
            <a:normAutofit/>
          </a:bodyPr>
          <a:lstStyle>
            <a:lvl1pPr algn="ctr">
              <a:lnSpc>
                <a:spcPct val="100000"/>
              </a:lnSpc>
              <a:defRPr sz="5400">
                <a:ln w="19050">
                  <a:noFill/>
                </a:ln>
                <a:gradFill>
                  <a:gsLst>
                    <a:gs pos="0">
                      <a:schemeClr val="accent2">
                        <a:lumMod val="60000"/>
                        <a:lumOff val="40000"/>
                      </a:schemeClr>
                    </a:gs>
                    <a:gs pos="50000">
                      <a:schemeClr val="tx1"/>
                    </a:gs>
                    <a:gs pos="100000">
                      <a:schemeClr val="accent2">
                        <a:lumMod val="60000"/>
                        <a:lumOff val="40000"/>
                      </a:schemeClr>
                    </a:gs>
                  </a:gsLst>
                  <a:lin ang="2700000" scaled="1"/>
                </a:gradFill>
                <a:effectLst>
                  <a:outerShdw blurRad="254000" dist="127000" dir="5400000" algn="t" rotWithShape="0">
                    <a:schemeClr val="accent1">
                      <a:lumMod val="75000"/>
                      <a:alpha val="40000"/>
                    </a:schemeClr>
                  </a:outerShdw>
                </a:effectLst>
              </a:defRPr>
            </a:lvl1pPr>
          </a:lstStyle>
          <a:p>
            <a:pPr lvl="0"/>
            <a:r>
              <a:rPr lang="en-US"/>
              <a:t>Click to add title</a:t>
            </a:r>
            <a:endParaRPr lang="en-US"/>
          </a:p>
        </p:txBody>
      </p:sp>
      <p:sp>
        <p:nvSpPr>
          <p:cNvPr id="9" name="副标题 8"/>
          <p:cNvSpPr>
            <a:spLocks noGrp="1"/>
          </p:cNvSpPr>
          <p:nvPr>
            <p:ph type="subTitle" sz="quarter" idx="1" hasCustomPrompt="1"/>
          </p:nvPr>
        </p:nvSpPr>
        <p:spPr>
          <a:xfrm>
            <a:off x="1611862" y="3524195"/>
            <a:ext cx="8955576" cy="697420"/>
          </a:xfrm>
          <a:prstGeom prst="roundRect">
            <a:avLst>
              <a:gd name="adj" fmla="val 0"/>
            </a:avLst>
          </a:prstGeom>
          <a:noFill/>
          <a:ln>
            <a:noFill/>
          </a:ln>
        </p:spPr>
        <p:txBody>
          <a:bodyPr vert="horz" wrap="square" lIns="91440" tIns="45720" rIns="91440" bIns="45720" rtlCol="0" anchor="t" anchorCtr="0">
            <a:normAutofit/>
          </a:bodyPr>
          <a:lstStyle>
            <a:lvl1pPr marL="0" indent="0" algn="ctr">
              <a:lnSpc>
                <a:spcPct val="100000"/>
              </a:lnSpc>
              <a:buNone/>
              <a:defRPr lang="en-US" sz="2000" dirty="0">
                <a:solidFill>
                  <a:schemeClr val="accent2">
                    <a:lumMod val="40000"/>
                    <a:lumOff val="60000"/>
                  </a:schemeClr>
                </a:solidFill>
                <a:latin typeface="+mj-lt"/>
              </a:defRPr>
            </a:lvl1pPr>
          </a:lstStyle>
          <a:p>
            <a:pPr lvl="0"/>
            <a:r>
              <a:rPr lang="en-US"/>
              <a:t>Click to add subtitle</a:t>
            </a:r>
            <a:endParaRPr lang="en-US"/>
          </a:p>
        </p:txBody>
      </p:sp>
      <p:sp>
        <p:nvSpPr>
          <p:cNvPr id="11" name="文本占位符 10"/>
          <p:cNvSpPr>
            <a:spLocks noGrp="1"/>
          </p:cNvSpPr>
          <p:nvPr>
            <p:ph type="body" sz="quarter" idx="13" hasCustomPrompt="1"/>
          </p:nvPr>
        </p:nvSpPr>
        <p:spPr>
          <a:xfrm>
            <a:off x="3753969" y="4394030"/>
            <a:ext cx="2160000" cy="360000"/>
          </a:xfrm>
          <a:prstGeom prst="roundRect">
            <a:avLst/>
          </a:prstGeom>
          <a:gradFill flip="none" rotWithShape="1">
            <a:gsLst>
              <a:gs pos="0">
                <a:schemeClr val="accent2">
                  <a:lumMod val="60000"/>
                  <a:lumOff val="40000"/>
                </a:schemeClr>
              </a:gs>
              <a:gs pos="60000">
                <a:schemeClr val="accent2"/>
              </a:gs>
            </a:gsLst>
            <a:lin ang="2700000" scaled="1"/>
            <a:tileRect/>
          </a:gradFill>
          <a:effectLst>
            <a:outerShdw blurRad="254000" dist="127000" dir="5400000" algn="t" rotWithShape="0">
              <a:schemeClr val="accent2">
                <a:lumMod val="75000"/>
                <a:alpha val="30000"/>
              </a:schemeClr>
            </a:outerShdw>
          </a:effectLst>
        </p:spPr>
        <p:txBody>
          <a:bodyPr wrap="square" lIns="90000" anchor="ctr">
            <a:normAutofit/>
          </a:bodyPr>
          <a:lstStyle>
            <a:lvl1pPr marL="0" indent="0" algn="ctr">
              <a:lnSpc>
                <a:spcPct val="100000"/>
              </a:lnSpc>
              <a:buNone/>
              <a:defRPr sz="1200">
                <a:solidFill>
                  <a:schemeClr val="tx1"/>
                </a:solidFill>
              </a:defRPr>
            </a:lvl1pPr>
          </a:lstStyle>
          <a:p>
            <a:pPr lvl="0"/>
            <a:r>
              <a:rPr lang="en-US"/>
              <a:t>Presenter name</a:t>
            </a:r>
            <a:endParaRPr lang="en-US"/>
          </a:p>
        </p:txBody>
      </p:sp>
      <p:sp>
        <p:nvSpPr>
          <p:cNvPr id="12" name="文本占位符 11"/>
          <p:cNvSpPr>
            <a:spLocks noGrp="1"/>
          </p:cNvSpPr>
          <p:nvPr>
            <p:ph type="body" sz="quarter" idx="14" hasCustomPrompt="1"/>
          </p:nvPr>
        </p:nvSpPr>
        <p:spPr>
          <a:xfrm>
            <a:off x="6265331" y="4394030"/>
            <a:ext cx="2160000" cy="360000"/>
          </a:xfrm>
          <a:prstGeom prst="roundRect">
            <a:avLst/>
          </a:prstGeom>
          <a:gradFill flip="none" rotWithShape="1">
            <a:gsLst>
              <a:gs pos="0">
                <a:schemeClr val="accent3">
                  <a:lumMod val="60000"/>
                  <a:lumOff val="40000"/>
                </a:schemeClr>
              </a:gs>
              <a:gs pos="60000">
                <a:schemeClr val="accent3"/>
              </a:gs>
            </a:gsLst>
            <a:lin ang="2700000" scaled="1"/>
            <a:tileRect/>
          </a:gradFill>
          <a:effectLst>
            <a:outerShdw blurRad="254000" dist="127000" dir="5400000" algn="t" rotWithShape="0">
              <a:schemeClr val="accent3">
                <a:lumMod val="75000"/>
                <a:alpha val="30000"/>
              </a:schemeClr>
            </a:outerShdw>
          </a:effectLst>
        </p:spPr>
        <p:txBody>
          <a:bodyPr wrap="none" anchor="ctr">
            <a:normAutofit/>
          </a:bodyPr>
          <a:lstStyle>
            <a:lvl1pPr marL="0" indent="0" algn="ctr">
              <a:lnSpc>
                <a:spcPct val="100000"/>
              </a:lnSpc>
              <a:buNone/>
              <a:defRPr sz="1200">
                <a:solidFill>
                  <a:schemeClr val="tx1"/>
                </a:solidFill>
              </a:defRPr>
            </a:lvl1pPr>
          </a:lstStyle>
          <a:p>
            <a:pPr lvl="0"/>
            <a:r>
              <a:rPr lang="en-US"/>
              <a:t>www.officeplus.cn</a:t>
            </a:r>
            <a:endParaRPr lang="en-US"/>
          </a:p>
        </p:txBody>
      </p:sp>
    </p:spTree>
  </p:cSld>
  <p:clrMapOvr>
    <a:overrideClrMapping bg1="dk1" tx1="lt1" bg2="dk2" tx2="lt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标题 1"/>
          <p:cNvSpPr>
            <a:spLocks noGrp="1"/>
          </p:cNvSpPr>
          <p:nvPr>
            <p:ph type="title" hasCustomPrompt="1"/>
          </p:nvPr>
        </p:nvSpPr>
        <p:spPr/>
        <p:txBody>
          <a:bodyPr/>
          <a:lstStyle>
            <a:lvl1pPr>
              <a:defRPr/>
            </a:lvl1pPr>
          </a:lstStyle>
          <a:p>
            <a:pPr lvl="0"/>
            <a:r>
              <a:rPr lang="en-US"/>
              <a:t>Click to add title</a:t>
            </a:r>
            <a:endParaRPr lang="en-US"/>
          </a:p>
        </p:txBody>
      </p:sp>
      <p:sp>
        <p:nvSpPr>
          <p:cNvPr id="3" name="内容占位符 2"/>
          <p:cNvSpPr>
            <a:spLocks noGrp="1"/>
          </p:cNvSpPr>
          <p:nvPr>
            <p:ph idx="1" hasCustomPrompt="1"/>
          </p:nvPr>
        </p:nvSpPr>
        <p:spPr/>
        <p:txBody>
          <a:bodyPr/>
          <a:lstStyle>
            <a:lvl1pPr>
              <a:defRPr/>
            </a:lvl1pPr>
          </a:lstStyle>
          <a:p>
            <a:pPr lvl="0"/>
            <a:r>
              <a:rPr lang="en-US"/>
              <a:t>Click to add text</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日期占位符 3"/>
          <p:cNvSpPr>
            <a:spLocks noGrp="1"/>
          </p:cNvSpPr>
          <p:nvPr>
            <p:ph type="dt" sz="half" idx="10"/>
          </p:nvPr>
        </p:nvSpPr>
        <p:spPr/>
        <p:txBody>
          <a:bodyPr/>
          <a:lstStyle/>
          <a:p>
            <a:endParaRPr lang="en-US"/>
          </a:p>
        </p:txBody>
      </p:sp>
      <p:sp>
        <p:nvSpPr>
          <p:cNvPr id="5" name="页脚占位符 4"/>
          <p:cNvSpPr>
            <a:spLocks noGrp="1"/>
          </p:cNvSpPr>
          <p:nvPr>
            <p:ph type="ftr" sz="quarter" idx="11"/>
          </p:nvPr>
        </p:nvSpPr>
        <p:spPr/>
        <p:txBody>
          <a:bodyPr/>
          <a:lstStyle/>
          <a:p>
            <a:endParaRPr lang="en-US" dirty="0"/>
          </a:p>
        </p:txBody>
      </p:sp>
      <p:sp>
        <p:nvSpPr>
          <p:cNvPr id="6" name="灯片编号占位符 5"/>
          <p:cNvSpPr>
            <a:spLocks noGrp="1"/>
          </p:cNvSpPr>
          <p:nvPr>
            <p:ph type="sldNum" sz="quarter" idx="12"/>
          </p:nvPr>
        </p:nvSpPr>
        <p:spPr/>
        <p:txBody>
          <a:bodyPr/>
          <a:lstStyle/>
          <a:p>
            <a:fld id="{C8BB1146-E542-4D4E-B8E9-6919A11DDD48}" type="slidenum">
              <a:rPr lang="en-US" smtClean="0"/>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showMasterSp="0">
  <p:cSld name="Agenda">
    <p:spTree>
      <p:nvGrpSpPr>
        <p:cNvPr id="1" name=""/>
        <p:cNvGrpSpPr/>
        <p:nvPr/>
      </p:nvGrpSpPr>
      <p:grpSpPr>
        <a:xfrm>
          <a:off x="0" y="0"/>
          <a:ext cx="0" cy="0"/>
          <a:chOff x="0" y="0"/>
          <a:chExt cx="0" cy="0"/>
        </a:xfrm>
      </p:grpSpPr>
      <p:grpSp>
        <p:nvGrpSpPr>
          <p:cNvPr id="111" name="组合 110"/>
          <p:cNvGrpSpPr/>
          <p:nvPr/>
        </p:nvGrpSpPr>
        <p:grpSpPr>
          <a:xfrm>
            <a:off x="0" y="0"/>
            <a:ext cx="12192000" cy="6858001"/>
            <a:chOff x="0" y="0"/>
            <a:chExt cx="12192000" cy="6858001"/>
          </a:xfrm>
        </p:grpSpPr>
        <p:grpSp>
          <p:nvGrpSpPr>
            <p:cNvPr id="3" name="组合 2"/>
            <p:cNvGrpSpPr/>
            <p:nvPr/>
          </p:nvGrpSpPr>
          <p:grpSpPr>
            <a:xfrm>
              <a:off x="0" y="0"/>
              <a:ext cx="12192000" cy="6858001"/>
              <a:chOff x="0" y="0"/>
              <a:chExt cx="12192000" cy="6858001"/>
            </a:xfrm>
          </p:grpSpPr>
          <p:sp>
            <p:nvSpPr>
              <p:cNvPr id="107" name="矩形 106"/>
              <p:cNvSpPr/>
              <p:nvPr/>
            </p:nvSpPr>
            <p:spPr>
              <a:xfrm>
                <a:off x="0" y="0"/>
                <a:ext cx="12192000" cy="6858000"/>
              </a:xfrm>
              <a:prstGeom prst="rect">
                <a:avLst/>
              </a:prstGeom>
              <a:blipFill>
                <a:blip r:embed="rId2"/>
                <a:srcRect/>
                <a:stretch>
                  <a:fillRect l="-8947" t="-12098" r="-11579" b="-7988"/>
                </a:stretch>
              </a:blipFill>
              <a:ln w="38100">
                <a:noFill/>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noAutofit/>
              </a:bodyPr>
              <a:lstStyle/>
              <a:p>
                <a:pPr lvl="0" algn="ctr"/>
                <a:endParaRPr lang="zh-CN" altLang="en-US"/>
              </a:p>
            </p:txBody>
          </p:sp>
          <p:sp>
            <p:nvSpPr>
              <p:cNvPr id="108" name="矩形 107"/>
              <p:cNvSpPr/>
              <p:nvPr/>
            </p:nvSpPr>
            <p:spPr>
              <a:xfrm>
                <a:off x="0" y="0"/>
                <a:ext cx="12192000" cy="6858001"/>
              </a:xfrm>
              <a:prstGeom prst="rect">
                <a:avLst/>
              </a:prstGeom>
              <a:gradFill flip="none" rotWithShape="1">
                <a:gsLst>
                  <a:gs pos="10000">
                    <a:schemeClr val="accent1">
                      <a:lumMod val="50000"/>
                    </a:schemeClr>
                  </a:gs>
                  <a:gs pos="50000">
                    <a:schemeClr val="accent1">
                      <a:alpha val="80000"/>
                    </a:schemeClr>
                  </a:gs>
                  <a:gs pos="90000">
                    <a:schemeClr val="accent1">
                      <a:lumMod val="50000"/>
                    </a:schemeClr>
                  </a:gs>
                </a:gsLst>
                <a:lin ang="8100000" scaled="1"/>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zh-CN" altLang="en-US" dirty="0"/>
              </a:p>
            </p:txBody>
          </p:sp>
        </p:grpSp>
        <p:grpSp>
          <p:nvGrpSpPr>
            <p:cNvPr id="10" name="组合 9"/>
            <p:cNvGrpSpPr/>
            <p:nvPr/>
          </p:nvGrpSpPr>
          <p:grpSpPr>
            <a:xfrm>
              <a:off x="654598" y="1006642"/>
              <a:ext cx="10882804" cy="4844716"/>
              <a:chOff x="1105046" y="1207169"/>
              <a:chExt cx="9981909" cy="4443663"/>
            </a:xfrm>
          </p:grpSpPr>
          <p:sp>
            <p:nvSpPr>
              <p:cNvPr id="15" name="任意多边形: 形状 14"/>
              <p:cNvSpPr/>
              <p:nvPr/>
            </p:nvSpPr>
            <p:spPr>
              <a:xfrm>
                <a:off x="4674680" y="5479294"/>
                <a:ext cx="2238169" cy="81685"/>
              </a:xfrm>
              <a:custGeom>
                <a:avLst/>
                <a:gdLst>
                  <a:gd name="connsiteX0" fmla="*/ 1304925 w 1304925"/>
                  <a:gd name="connsiteY0" fmla="*/ 47625 h 47625"/>
                  <a:gd name="connsiteX1" fmla="*/ 0 w 1304925"/>
                  <a:gd name="connsiteY1" fmla="*/ 47625 h 47625"/>
                  <a:gd name="connsiteX2" fmla="*/ 47625 w 1304925"/>
                  <a:gd name="connsiteY2" fmla="*/ 0 h 47625"/>
                  <a:gd name="connsiteX3" fmla="*/ 1304925 w 1304925"/>
                  <a:gd name="connsiteY3" fmla="*/ 0 h 47625"/>
                </a:gdLst>
                <a:ahLst/>
                <a:cxnLst>
                  <a:cxn ang="0">
                    <a:pos x="connsiteX0" y="connsiteY0"/>
                  </a:cxn>
                  <a:cxn ang="0">
                    <a:pos x="connsiteX1" y="connsiteY1"/>
                  </a:cxn>
                  <a:cxn ang="0">
                    <a:pos x="connsiteX2" y="connsiteY2"/>
                  </a:cxn>
                  <a:cxn ang="0">
                    <a:pos x="connsiteX3" y="connsiteY3"/>
                  </a:cxn>
                </a:cxnLst>
                <a:rect l="l" t="t" r="r" b="b"/>
                <a:pathLst>
                  <a:path w="1304925" h="47625">
                    <a:moveTo>
                      <a:pt x="1304925" y="47625"/>
                    </a:moveTo>
                    <a:lnTo>
                      <a:pt x="0" y="47625"/>
                    </a:lnTo>
                    <a:lnTo>
                      <a:pt x="47625" y="0"/>
                    </a:lnTo>
                    <a:lnTo>
                      <a:pt x="1304925" y="0"/>
                    </a:lnTo>
                    <a:close/>
                  </a:path>
                </a:pathLst>
              </a:custGeom>
              <a:gradFill flip="none" rotWithShape="1">
                <a:gsLst>
                  <a:gs pos="10000">
                    <a:schemeClr val="accent1">
                      <a:alpha val="0"/>
                    </a:schemeClr>
                  </a:gs>
                  <a:gs pos="100000">
                    <a:schemeClr val="accent2"/>
                  </a:gs>
                </a:gsLst>
                <a:lin ang="0" scaled="1"/>
                <a:tileRect/>
              </a:gradFill>
              <a:ln w="9525" cap="flat">
                <a:noFill/>
                <a:prstDash val="solid"/>
                <a:miter/>
              </a:ln>
            </p:spPr>
            <p:txBody>
              <a:bodyPr rtlCol="0" anchor="ctr"/>
              <a:lstStyle/>
              <a:p>
                <a:endParaRPr lang="zh-CN" altLang="en-US"/>
              </a:p>
            </p:txBody>
          </p:sp>
          <p:sp>
            <p:nvSpPr>
              <p:cNvPr id="17" name="任意多边形: 形状 16"/>
              <p:cNvSpPr/>
              <p:nvPr/>
            </p:nvSpPr>
            <p:spPr>
              <a:xfrm>
                <a:off x="7043546" y="5479294"/>
                <a:ext cx="1241612" cy="81685"/>
              </a:xfrm>
              <a:custGeom>
                <a:avLst/>
                <a:gdLst>
                  <a:gd name="connsiteX0" fmla="*/ 0 w 723900"/>
                  <a:gd name="connsiteY0" fmla="*/ 0 h 47625"/>
                  <a:gd name="connsiteX1" fmla="*/ 723900 w 723900"/>
                  <a:gd name="connsiteY1" fmla="*/ 0 h 47625"/>
                  <a:gd name="connsiteX2" fmla="*/ 723900 w 723900"/>
                  <a:gd name="connsiteY2" fmla="*/ 47625 h 47625"/>
                  <a:gd name="connsiteX3" fmla="*/ 0 w 723900"/>
                  <a:gd name="connsiteY3" fmla="*/ 47625 h 47625"/>
                </a:gdLst>
                <a:ahLst/>
                <a:cxnLst>
                  <a:cxn ang="0">
                    <a:pos x="connsiteX0" y="connsiteY0"/>
                  </a:cxn>
                  <a:cxn ang="0">
                    <a:pos x="connsiteX1" y="connsiteY1"/>
                  </a:cxn>
                  <a:cxn ang="0">
                    <a:pos x="connsiteX2" y="connsiteY2"/>
                  </a:cxn>
                  <a:cxn ang="0">
                    <a:pos x="connsiteX3" y="connsiteY3"/>
                  </a:cxn>
                </a:cxnLst>
                <a:rect l="l" t="t" r="r" b="b"/>
                <a:pathLst>
                  <a:path w="723900" h="47625">
                    <a:moveTo>
                      <a:pt x="0" y="0"/>
                    </a:moveTo>
                    <a:lnTo>
                      <a:pt x="723900" y="0"/>
                    </a:lnTo>
                    <a:lnTo>
                      <a:pt x="723900" y="47625"/>
                    </a:lnTo>
                    <a:lnTo>
                      <a:pt x="0" y="47625"/>
                    </a:lnTo>
                    <a:close/>
                  </a:path>
                </a:pathLst>
              </a:custGeom>
              <a:gradFill flip="none" rotWithShape="1">
                <a:gsLst>
                  <a:gs pos="10000">
                    <a:schemeClr val="accent1">
                      <a:alpha val="0"/>
                    </a:schemeClr>
                  </a:gs>
                  <a:gs pos="100000">
                    <a:schemeClr val="accent2"/>
                  </a:gs>
                </a:gsLst>
                <a:lin ang="0" scaled="1"/>
                <a:tileRect/>
              </a:gradFill>
              <a:ln w="9525" cap="flat">
                <a:noFill/>
                <a:prstDash val="solid"/>
                <a:miter/>
              </a:ln>
            </p:spPr>
            <p:txBody>
              <a:bodyPr rtlCol="0" anchor="ctr"/>
              <a:lstStyle/>
              <a:p>
                <a:endParaRPr lang="zh-CN" altLang="en-US"/>
              </a:p>
            </p:txBody>
          </p:sp>
          <p:sp>
            <p:nvSpPr>
              <p:cNvPr id="19" name="任意多边形: 形状 18"/>
              <p:cNvSpPr/>
              <p:nvPr/>
            </p:nvSpPr>
            <p:spPr>
              <a:xfrm>
                <a:off x="4748198" y="5266913"/>
                <a:ext cx="3561467" cy="16337"/>
              </a:xfrm>
              <a:custGeom>
                <a:avLst/>
                <a:gdLst>
                  <a:gd name="connsiteX0" fmla="*/ 0 w 2076450"/>
                  <a:gd name="connsiteY0" fmla="*/ 0 h 9525"/>
                  <a:gd name="connsiteX1" fmla="*/ 2076450 w 2076450"/>
                  <a:gd name="connsiteY1" fmla="*/ 0 h 9525"/>
                  <a:gd name="connsiteX2" fmla="*/ 2076450 w 2076450"/>
                  <a:gd name="connsiteY2" fmla="*/ 9525 h 9525"/>
                  <a:gd name="connsiteX3" fmla="*/ 0 w 2076450"/>
                  <a:gd name="connsiteY3" fmla="*/ 9525 h 9525"/>
                </a:gdLst>
                <a:ahLst/>
                <a:cxnLst>
                  <a:cxn ang="0">
                    <a:pos x="connsiteX0" y="connsiteY0"/>
                  </a:cxn>
                  <a:cxn ang="0">
                    <a:pos x="connsiteX1" y="connsiteY1"/>
                  </a:cxn>
                  <a:cxn ang="0">
                    <a:pos x="connsiteX2" y="connsiteY2"/>
                  </a:cxn>
                  <a:cxn ang="0">
                    <a:pos x="connsiteX3" y="connsiteY3"/>
                  </a:cxn>
                </a:cxnLst>
                <a:rect l="l" t="t" r="r" b="b"/>
                <a:pathLst>
                  <a:path w="2076450" h="9525">
                    <a:moveTo>
                      <a:pt x="0" y="0"/>
                    </a:moveTo>
                    <a:lnTo>
                      <a:pt x="2076450" y="0"/>
                    </a:lnTo>
                    <a:lnTo>
                      <a:pt x="2076450" y="9525"/>
                    </a:lnTo>
                    <a:lnTo>
                      <a:pt x="0" y="9525"/>
                    </a:lnTo>
                    <a:close/>
                  </a:path>
                </a:pathLst>
              </a:custGeom>
              <a:solidFill>
                <a:schemeClr val="accent2">
                  <a:alpha val="50000"/>
                </a:schemeClr>
              </a:solidFill>
              <a:ln w="9525" cap="flat">
                <a:noFill/>
                <a:prstDash val="solid"/>
                <a:miter/>
              </a:ln>
            </p:spPr>
            <p:txBody>
              <a:bodyPr rtlCol="0" anchor="ctr"/>
              <a:lstStyle/>
              <a:p>
                <a:endParaRPr lang="zh-CN" altLang="en-US"/>
              </a:p>
            </p:txBody>
          </p:sp>
          <p:sp>
            <p:nvSpPr>
              <p:cNvPr id="20" name="任意多边形: 形状 19"/>
              <p:cNvSpPr/>
              <p:nvPr/>
            </p:nvSpPr>
            <p:spPr>
              <a:xfrm>
                <a:off x="4813546" y="5332261"/>
                <a:ext cx="326740" cy="65348"/>
              </a:xfrm>
              <a:custGeom>
                <a:avLst/>
                <a:gdLst>
                  <a:gd name="connsiteX0" fmla="*/ 38100 w 190500"/>
                  <a:gd name="connsiteY0" fmla="*/ 0 h 38100"/>
                  <a:gd name="connsiteX1" fmla="*/ 0 w 190500"/>
                  <a:gd name="connsiteY1" fmla="*/ 38100 h 38100"/>
                  <a:gd name="connsiteX2" fmla="*/ 190500 w 190500"/>
                  <a:gd name="connsiteY2" fmla="*/ 38100 h 38100"/>
                  <a:gd name="connsiteX3" fmla="*/ 190500 w 190500"/>
                  <a:gd name="connsiteY3" fmla="*/ 0 h 38100"/>
                  <a:gd name="connsiteX4" fmla="*/ 38100 w 190500"/>
                  <a:gd name="connsiteY4" fmla="*/ 0 h 38100"/>
                  <a:gd name="connsiteX5" fmla="*/ 180975 w 190500"/>
                  <a:gd name="connsiteY5" fmla="*/ 28575 h 38100"/>
                  <a:gd name="connsiteX6" fmla="*/ 28575 w 190500"/>
                  <a:gd name="connsiteY6" fmla="*/ 28575 h 38100"/>
                  <a:gd name="connsiteX7" fmla="*/ 47625 w 190500"/>
                  <a:gd name="connsiteY7" fmla="*/ 9525 h 38100"/>
                  <a:gd name="connsiteX8" fmla="*/ 180975 w 190500"/>
                  <a:gd name="connsiteY8" fmla="*/ 9525 h 38100"/>
                  <a:gd name="connsiteX9" fmla="*/ 180975 w 190500"/>
                  <a:gd name="connsiteY9" fmla="*/ 28575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500" h="38100">
                    <a:moveTo>
                      <a:pt x="38100" y="0"/>
                    </a:moveTo>
                    <a:lnTo>
                      <a:pt x="0" y="38100"/>
                    </a:lnTo>
                    <a:lnTo>
                      <a:pt x="190500" y="38100"/>
                    </a:lnTo>
                    <a:lnTo>
                      <a:pt x="190500" y="0"/>
                    </a:lnTo>
                    <a:lnTo>
                      <a:pt x="38100" y="0"/>
                    </a:lnTo>
                    <a:close/>
                    <a:moveTo>
                      <a:pt x="180975" y="28575"/>
                    </a:moveTo>
                    <a:lnTo>
                      <a:pt x="28575" y="28575"/>
                    </a:lnTo>
                    <a:lnTo>
                      <a:pt x="47625" y="9525"/>
                    </a:lnTo>
                    <a:lnTo>
                      <a:pt x="180975" y="9525"/>
                    </a:lnTo>
                    <a:lnTo>
                      <a:pt x="180975" y="28575"/>
                    </a:lnTo>
                    <a:close/>
                  </a:path>
                </a:pathLst>
              </a:custGeom>
              <a:solidFill>
                <a:schemeClr val="accent2"/>
              </a:solidFill>
              <a:ln w="9525" cap="flat">
                <a:noFill/>
                <a:prstDash val="solid"/>
                <a:miter/>
              </a:ln>
            </p:spPr>
            <p:txBody>
              <a:bodyPr rtlCol="0" anchor="ctr"/>
              <a:lstStyle/>
              <a:p>
                <a:endParaRPr lang="zh-CN" altLang="en-US"/>
              </a:p>
            </p:txBody>
          </p:sp>
          <p:sp>
            <p:nvSpPr>
              <p:cNvPr id="21" name="任意多边形: 形状 20"/>
              <p:cNvSpPr/>
              <p:nvPr/>
            </p:nvSpPr>
            <p:spPr>
              <a:xfrm>
                <a:off x="5537765" y="5332261"/>
                <a:ext cx="261392" cy="65348"/>
              </a:xfrm>
              <a:custGeom>
                <a:avLst/>
                <a:gdLst>
                  <a:gd name="connsiteX0" fmla="*/ 0 w 152400"/>
                  <a:gd name="connsiteY0" fmla="*/ 0 h 38100"/>
                  <a:gd name="connsiteX1" fmla="*/ 0 w 152400"/>
                  <a:gd name="connsiteY1" fmla="*/ 38100 h 38100"/>
                  <a:gd name="connsiteX2" fmla="*/ 152400 w 152400"/>
                  <a:gd name="connsiteY2" fmla="*/ 38100 h 38100"/>
                  <a:gd name="connsiteX3" fmla="*/ 152400 w 152400"/>
                  <a:gd name="connsiteY3" fmla="*/ 0 h 38100"/>
                  <a:gd name="connsiteX4" fmla="*/ 0 w 152400"/>
                  <a:gd name="connsiteY4" fmla="*/ 0 h 38100"/>
                  <a:gd name="connsiteX5" fmla="*/ 142875 w 152400"/>
                  <a:gd name="connsiteY5" fmla="*/ 28575 h 38100"/>
                  <a:gd name="connsiteX6" fmla="*/ 9525 w 152400"/>
                  <a:gd name="connsiteY6" fmla="*/ 28575 h 38100"/>
                  <a:gd name="connsiteX7" fmla="*/ 9525 w 152400"/>
                  <a:gd name="connsiteY7" fmla="*/ 9525 h 38100"/>
                  <a:gd name="connsiteX8" fmla="*/ 142875 w 152400"/>
                  <a:gd name="connsiteY8" fmla="*/ 9525 h 38100"/>
                  <a:gd name="connsiteX9" fmla="*/ 142875 w 152400"/>
                  <a:gd name="connsiteY9" fmla="*/ 28575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2400" h="38100">
                    <a:moveTo>
                      <a:pt x="0" y="0"/>
                    </a:moveTo>
                    <a:lnTo>
                      <a:pt x="0" y="38100"/>
                    </a:lnTo>
                    <a:lnTo>
                      <a:pt x="152400" y="38100"/>
                    </a:lnTo>
                    <a:lnTo>
                      <a:pt x="152400" y="0"/>
                    </a:lnTo>
                    <a:lnTo>
                      <a:pt x="0" y="0"/>
                    </a:lnTo>
                    <a:close/>
                    <a:moveTo>
                      <a:pt x="142875" y="28575"/>
                    </a:moveTo>
                    <a:lnTo>
                      <a:pt x="9525" y="28575"/>
                    </a:lnTo>
                    <a:lnTo>
                      <a:pt x="9525" y="9525"/>
                    </a:lnTo>
                    <a:lnTo>
                      <a:pt x="142875" y="9525"/>
                    </a:lnTo>
                    <a:lnTo>
                      <a:pt x="142875" y="28575"/>
                    </a:lnTo>
                    <a:close/>
                  </a:path>
                </a:pathLst>
              </a:custGeom>
              <a:solidFill>
                <a:schemeClr val="accent2"/>
              </a:solidFill>
              <a:ln w="9525" cap="flat">
                <a:noFill/>
                <a:prstDash val="solid"/>
                <a:miter/>
              </a:ln>
            </p:spPr>
            <p:txBody>
              <a:bodyPr rtlCol="0" anchor="ctr"/>
              <a:lstStyle/>
              <a:p>
                <a:endParaRPr lang="zh-CN" altLang="en-US"/>
              </a:p>
            </p:txBody>
          </p:sp>
          <p:sp>
            <p:nvSpPr>
              <p:cNvPr id="22" name="任意多边形: 形状 21"/>
              <p:cNvSpPr/>
              <p:nvPr/>
            </p:nvSpPr>
            <p:spPr>
              <a:xfrm>
                <a:off x="6196799" y="5332261"/>
                <a:ext cx="261392" cy="65348"/>
              </a:xfrm>
              <a:custGeom>
                <a:avLst/>
                <a:gdLst>
                  <a:gd name="connsiteX0" fmla="*/ 0 w 152400"/>
                  <a:gd name="connsiteY0" fmla="*/ 0 h 38100"/>
                  <a:gd name="connsiteX1" fmla="*/ 0 w 152400"/>
                  <a:gd name="connsiteY1" fmla="*/ 38100 h 38100"/>
                  <a:gd name="connsiteX2" fmla="*/ 152400 w 152400"/>
                  <a:gd name="connsiteY2" fmla="*/ 38100 h 38100"/>
                  <a:gd name="connsiteX3" fmla="*/ 152400 w 152400"/>
                  <a:gd name="connsiteY3" fmla="*/ 0 h 38100"/>
                  <a:gd name="connsiteX4" fmla="*/ 0 w 152400"/>
                  <a:gd name="connsiteY4" fmla="*/ 0 h 38100"/>
                  <a:gd name="connsiteX5" fmla="*/ 142875 w 152400"/>
                  <a:gd name="connsiteY5" fmla="*/ 28575 h 38100"/>
                  <a:gd name="connsiteX6" fmla="*/ 9525 w 152400"/>
                  <a:gd name="connsiteY6" fmla="*/ 28575 h 38100"/>
                  <a:gd name="connsiteX7" fmla="*/ 9525 w 152400"/>
                  <a:gd name="connsiteY7" fmla="*/ 9525 h 38100"/>
                  <a:gd name="connsiteX8" fmla="*/ 142875 w 152400"/>
                  <a:gd name="connsiteY8" fmla="*/ 9525 h 38100"/>
                  <a:gd name="connsiteX9" fmla="*/ 142875 w 152400"/>
                  <a:gd name="connsiteY9" fmla="*/ 28575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2400" h="38100">
                    <a:moveTo>
                      <a:pt x="0" y="0"/>
                    </a:moveTo>
                    <a:lnTo>
                      <a:pt x="0" y="38100"/>
                    </a:lnTo>
                    <a:lnTo>
                      <a:pt x="152400" y="38100"/>
                    </a:lnTo>
                    <a:lnTo>
                      <a:pt x="152400" y="0"/>
                    </a:lnTo>
                    <a:lnTo>
                      <a:pt x="0" y="0"/>
                    </a:lnTo>
                    <a:close/>
                    <a:moveTo>
                      <a:pt x="142875" y="28575"/>
                    </a:moveTo>
                    <a:lnTo>
                      <a:pt x="9525" y="28575"/>
                    </a:lnTo>
                    <a:lnTo>
                      <a:pt x="9525" y="9525"/>
                    </a:lnTo>
                    <a:lnTo>
                      <a:pt x="142875" y="9525"/>
                    </a:lnTo>
                    <a:lnTo>
                      <a:pt x="142875" y="28575"/>
                    </a:lnTo>
                    <a:close/>
                  </a:path>
                </a:pathLst>
              </a:custGeom>
              <a:solidFill>
                <a:schemeClr val="accent2"/>
              </a:solidFill>
              <a:ln w="9525" cap="flat">
                <a:noFill/>
                <a:prstDash val="solid"/>
                <a:miter/>
              </a:ln>
            </p:spPr>
            <p:txBody>
              <a:bodyPr rtlCol="0" anchor="ctr"/>
              <a:lstStyle/>
              <a:p>
                <a:endParaRPr lang="zh-CN" altLang="en-US"/>
              </a:p>
            </p:txBody>
          </p:sp>
          <p:sp>
            <p:nvSpPr>
              <p:cNvPr id="23" name="任意多边形: 形状 22"/>
              <p:cNvSpPr/>
              <p:nvPr/>
            </p:nvSpPr>
            <p:spPr>
              <a:xfrm>
                <a:off x="6855671" y="5332261"/>
                <a:ext cx="261392" cy="65348"/>
              </a:xfrm>
              <a:custGeom>
                <a:avLst/>
                <a:gdLst>
                  <a:gd name="connsiteX0" fmla="*/ 0 w 152400"/>
                  <a:gd name="connsiteY0" fmla="*/ 0 h 38100"/>
                  <a:gd name="connsiteX1" fmla="*/ 0 w 152400"/>
                  <a:gd name="connsiteY1" fmla="*/ 38100 h 38100"/>
                  <a:gd name="connsiteX2" fmla="*/ 152400 w 152400"/>
                  <a:gd name="connsiteY2" fmla="*/ 38100 h 38100"/>
                  <a:gd name="connsiteX3" fmla="*/ 152400 w 152400"/>
                  <a:gd name="connsiteY3" fmla="*/ 0 h 38100"/>
                  <a:gd name="connsiteX4" fmla="*/ 0 w 152400"/>
                  <a:gd name="connsiteY4" fmla="*/ 0 h 38100"/>
                  <a:gd name="connsiteX5" fmla="*/ 142875 w 152400"/>
                  <a:gd name="connsiteY5" fmla="*/ 28575 h 38100"/>
                  <a:gd name="connsiteX6" fmla="*/ 9525 w 152400"/>
                  <a:gd name="connsiteY6" fmla="*/ 28575 h 38100"/>
                  <a:gd name="connsiteX7" fmla="*/ 9525 w 152400"/>
                  <a:gd name="connsiteY7" fmla="*/ 9525 h 38100"/>
                  <a:gd name="connsiteX8" fmla="*/ 142875 w 152400"/>
                  <a:gd name="connsiteY8" fmla="*/ 9525 h 38100"/>
                  <a:gd name="connsiteX9" fmla="*/ 142875 w 152400"/>
                  <a:gd name="connsiteY9" fmla="*/ 28575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2400" h="38100">
                    <a:moveTo>
                      <a:pt x="0" y="0"/>
                    </a:moveTo>
                    <a:lnTo>
                      <a:pt x="0" y="38100"/>
                    </a:lnTo>
                    <a:lnTo>
                      <a:pt x="152400" y="38100"/>
                    </a:lnTo>
                    <a:lnTo>
                      <a:pt x="152400" y="0"/>
                    </a:lnTo>
                    <a:lnTo>
                      <a:pt x="0" y="0"/>
                    </a:lnTo>
                    <a:close/>
                    <a:moveTo>
                      <a:pt x="142875" y="28575"/>
                    </a:moveTo>
                    <a:lnTo>
                      <a:pt x="9525" y="28575"/>
                    </a:lnTo>
                    <a:lnTo>
                      <a:pt x="9525" y="9525"/>
                    </a:lnTo>
                    <a:lnTo>
                      <a:pt x="142875" y="9525"/>
                    </a:lnTo>
                    <a:lnTo>
                      <a:pt x="142875" y="28575"/>
                    </a:lnTo>
                    <a:close/>
                  </a:path>
                </a:pathLst>
              </a:custGeom>
              <a:solidFill>
                <a:schemeClr val="accent2"/>
              </a:solidFill>
              <a:ln w="9525" cap="flat">
                <a:noFill/>
                <a:prstDash val="solid"/>
                <a:miter/>
              </a:ln>
            </p:spPr>
            <p:txBody>
              <a:bodyPr rtlCol="0" anchor="ctr"/>
              <a:lstStyle/>
              <a:p>
                <a:endParaRPr lang="zh-CN" altLang="en-US"/>
              </a:p>
            </p:txBody>
          </p:sp>
          <p:sp>
            <p:nvSpPr>
              <p:cNvPr id="24" name="任意多边形: 形状 23"/>
              <p:cNvSpPr/>
              <p:nvPr/>
            </p:nvSpPr>
            <p:spPr>
              <a:xfrm>
                <a:off x="5208411" y="5332261"/>
                <a:ext cx="261390" cy="65348"/>
              </a:xfrm>
              <a:custGeom>
                <a:avLst/>
                <a:gdLst>
                  <a:gd name="connsiteX0" fmla="*/ 0 w 152399"/>
                  <a:gd name="connsiteY0" fmla="*/ 0 h 38100"/>
                  <a:gd name="connsiteX1" fmla="*/ 152400 w 152399"/>
                  <a:gd name="connsiteY1" fmla="*/ 0 h 38100"/>
                  <a:gd name="connsiteX2" fmla="*/ 152400 w 152399"/>
                  <a:gd name="connsiteY2" fmla="*/ 38100 h 38100"/>
                  <a:gd name="connsiteX3" fmla="*/ 0 w 152399"/>
                  <a:gd name="connsiteY3" fmla="*/ 38100 h 38100"/>
                </a:gdLst>
                <a:ahLst/>
                <a:cxnLst>
                  <a:cxn ang="0">
                    <a:pos x="connsiteX0" y="connsiteY0"/>
                  </a:cxn>
                  <a:cxn ang="0">
                    <a:pos x="connsiteX1" y="connsiteY1"/>
                  </a:cxn>
                  <a:cxn ang="0">
                    <a:pos x="connsiteX2" y="connsiteY2"/>
                  </a:cxn>
                  <a:cxn ang="0">
                    <a:pos x="connsiteX3" y="connsiteY3"/>
                  </a:cxn>
                </a:cxnLst>
                <a:rect l="l" t="t" r="r" b="b"/>
                <a:pathLst>
                  <a:path w="152399" h="38100">
                    <a:moveTo>
                      <a:pt x="0" y="0"/>
                    </a:moveTo>
                    <a:lnTo>
                      <a:pt x="152400" y="0"/>
                    </a:lnTo>
                    <a:lnTo>
                      <a:pt x="152400" y="38100"/>
                    </a:lnTo>
                    <a:lnTo>
                      <a:pt x="0" y="38100"/>
                    </a:lnTo>
                    <a:close/>
                  </a:path>
                </a:pathLst>
              </a:custGeom>
              <a:solidFill>
                <a:schemeClr val="accent2">
                  <a:alpha val="50000"/>
                </a:schemeClr>
              </a:solidFill>
              <a:ln w="9525" cap="flat">
                <a:noFill/>
                <a:prstDash val="solid"/>
                <a:miter/>
              </a:ln>
            </p:spPr>
            <p:txBody>
              <a:bodyPr rtlCol="0" anchor="ctr"/>
              <a:lstStyle/>
              <a:p>
                <a:endParaRPr lang="zh-CN" altLang="en-US"/>
              </a:p>
            </p:txBody>
          </p:sp>
          <p:sp>
            <p:nvSpPr>
              <p:cNvPr id="25" name="任意多边形: 形状 24"/>
              <p:cNvSpPr/>
              <p:nvPr/>
            </p:nvSpPr>
            <p:spPr>
              <a:xfrm>
                <a:off x="5867282" y="5332261"/>
                <a:ext cx="261392" cy="65348"/>
              </a:xfrm>
              <a:custGeom>
                <a:avLst/>
                <a:gdLst>
                  <a:gd name="connsiteX0" fmla="*/ 0 w 152400"/>
                  <a:gd name="connsiteY0" fmla="*/ 0 h 38100"/>
                  <a:gd name="connsiteX1" fmla="*/ 152400 w 152400"/>
                  <a:gd name="connsiteY1" fmla="*/ 0 h 38100"/>
                  <a:gd name="connsiteX2" fmla="*/ 152400 w 152400"/>
                  <a:gd name="connsiteY2" fmla="*/ 38100 h 38100"/>
                  <a:gd name="connsiteX3" fmla="*/ 0 w 152400"/>
                  <a:gd name="connsiteY3" fmla="*/ 38100 h 38100"/>
                </a:gdLst>
                <a:ahLst/>
                <a:cxnLst>
                  <a:cxn ang="0">
                    <a:pos x="connsiteX0" y="connsiteY0"/>
                  </a:cxn>
                  <a:cxn ang="0">
                    <a:pos x="connsiteX1" y="connsiteY1"/>
                  </a:cxn>
                  <a:cxn ang="0">
                    <a:pos x="connsiteX2" y="connsiteY2"/>
                  </a:cxn>
                  <a:cxn ang="0">
                    <a:pos x="connsiteX3" y="connsiteY3"/>
                  </a:cxn>
                </a:cxnLst>
                <a:rect l="l" t="t" r="r" b="b"/>
                <a:pathLst>
                  <a:path w="152400" h="38100">
                    <a:moveTo>
                      <a:pt x="0" y="0"/>
                    </a:moveTo>
                    <a:lnTo>
                      <a:pt x="152400" y="0"/>
                    </a:lnTo>
                    <a:lnTo>
                      <a:pt x="152400" y="38100"/>
                    </a:lnTo>
                    <a:lnTo>
                      <a:pt x="0" y="38100"/>
                    </a:lnTo>
                    <a:close/>
                  </a:path>
                </a:pathLst>
              </a:custGeom>
              <a:solidFill>
                <a:schemeClr val="accent2">
                  <a:alpha val="50000"/>
                </a:schemeClr>
              </a:solidFill>
              <a:ln w="9525" cap="flat">
                <a:noFill/>
                <a:prstDash val="solid"/>
                <a:miter/>
              </a:ln>
            </p:spPr>
            <p:txBody>
              <a:bodyPr rtlCol="0" anchor="ctr"/>
              <a:lstStyle/>
              <a:p>
                <a:endParaRPr lang="zh-CN" altLang="en-US"/>
              </a:p>
            </p:txBody>
          </p:sp>
          <p:sp>
            <p:nvSpPr>
              <p:cNvPr id="26" name="任意多边形: 形状 25"/>
              <p:cNvSpPr/>
              <p:nvPr/>
            </p:nvSpPr>
            <p:spPr>
              <a:xfrm>
                <a:off x="6526153" y="5332261"/>
                <a:ext cx="261392" cy="65348"/>
              </a:xfrm>
              <a:custGeom>
                <a:avLst/>
                <a:gdLst>
                  <a:gd name="connsiteX0" fmla="*/ 0 w 152400"/>
                  <a:gd name="connsiteY0" fmla="*/ 0 h 38100"/>
                  <a:gd name="connsiteX1" fmla="*/ 152400 w 152400"/>
                  <a:gd name="connsiteY1" fmla="*/ 0 h 38100"/>
                  <a:gd name="connsiteX2" fmla="*/ 152400 w 152400"/>
                  <a:gd name="connsiteY2" fmla="*/ 38100 h 38100"/>
                  <a:gd name="connsiteX3" fmla="*/ 0 w 152400"/>
                  <a:gd name="connsiteY3" fmla="*/ 38100 h 38100"/>
                </a:gdLst>
                <a:ahLst/>
                <a:cxnLst>
                  <a:cxn ang="0">
                    <a:pos x="connsiteX0" y="connsiteY0"/>
                  </a:cxn>
                  <a:cxn ang="0">
                    <a:pos x="connsiteX1" y="connsiteY1"/>
                  </a:cxn>
                  <a:cxn ang="0">
                    <a:pos x="connsiteX2" y="connsiteY2"/>
                  </a:cxn>
                  <a:cxn ang="0">
                    <a:pos x="connsiteX3" y="connsiteY3"/>
                  </a:cxn>
                </a:cxnLst>
                <a:rect l="l" t="t" r="r" b="b"/>
                <a:pathLst>
                  <a:path w="152400" h="38100">
                    <a:moveTo>
                      <a:pt x="0" y="0"/>
                    </a:moveTo>
                    <a:lnTo>
                      <a:pt x="152400" y="0"/>
                    </a:lnTo>
                    <a:lnTo>
                      <a:pt x="152400" y="38100"/>
                    </a:lnTo>
                    <a:lnTo>
                      <a:pt x="0" y="38100"/>
                    </a:lnTo>
                    <a:close/>
                  </a:path>
                </a:pathLst>
              </a:custGeom>
              <a:solidFill>
                <a:schemeClr val="accent2">
                  <a:alpha val="50000"/>
                </a:schemeClr>
              </a:solidFill>
              <a:ln w="9525" cap="flat">
                <a:noFill/>
                <a:prstDash val="solid"/>
                <a:miter/>
              </a:ln>
            </p:spPr>
            <p:txBody>
              <a:bodyPr rtlCol="0" anchor="ctr"/>
              <a:lstStyle/>
              <a:p>
                <a:endParaRPr lang="zh-CN" altLang="en-US"/>
              </a:p>
            </p:txBody>
          </p:sp>
          <p:grpSp>
            <p:nvGrpSpPr>
              <p:cNvPr id="27" name="组合 26"/>
              <p:cNvGrpSpPr/>
              <p:nvPr/>
            </p:nvGrpSpPr>
            <p:grpSpPr>
              <a:xfrm>
                <a:off x="7166074" y="5332261"/>
                <a:ext cx="1029231" cy="65348"/>
                <a:chOff x="6719887" y="4538662"/>
                <a:chExt cx="600075" cy="38100"/>
              </a:xfrm>
              <a:gradFill flip="none" rotWithShape="1">
                <a:gsLst>
                  <a:gs pos="0">
                    <a:schemeClr val="accent2"/>
                  </a:gs>
                  <a:gs pos="100000">
                    <a:schemeClr val="accent1">
                      <a:lumMod val="75000"/>
                      <a:alpha val="0"/>
                    </a:schemeClr>
                  </a:gs>
                </a:gsLst>
                <a:lin ang="0" scaled="1"/>
                <a:tileRect/>
              </a:gradFill>
            </p:grpSpPr>
            <p:sp>
              <p:nvSpPr>
                <p:cNvPr id="86" name="任意多边形: 形状 85"/>
                <p:cNvSpPr/>
                <p:nvPr/>
              </p:nvSpPr>
              <p:spPr>
                <a:xfrm>
                  <a:off x="6719887" y="4538662"/>
                  <a:ext cx="19050" cy="38100"/>
                </a:xfrm>
                <a:custGeom>
                  <a:avLst/>
                  <a:gdLst>
                    <a:gd name="connsiteX0" fmla="*/ 0 w 19050"/>
                    <a:gd name="connsiteY0" fmla="*/ 0 h 38100"/>
                    <a:gd name="connsiteX1" fmla="*/ 19050 w 19050"/>
                    <a:gd name="connsiteY1" fmla="*/ 0 h 38100"/>
                    <a:gd name="connsiteX2" fmla="*/ 19050 w 19050"/>
                    <a:gd name="connsiteY2" fmla="*/ 38100 h 38100"/>
                    <a:gd name="connsiteX3" fmla="*/ 0 w 19050"/>
                    <a:gd name="connsiteY3" fmla="*/ 38100 h 38100"/>
                  </a:gdLst>
                  <a:ahLst/>
                  <a:cxnLst>
                    <a:cxn ang="0">
                      <a:pos x="connsiteX0" y="connsiteY0"/>
                    </a:cxn>
                    <a:cxn ang="0">
                      <a:pos x="connsiteX1" y="connsiteY1"/>
                    </a:cxn>
                    <a:cxn ang="0">
                      <a:pos x="connsiteX2" y="connsiteY2"/>
                    </a:cxn>
                    <a:cxn ang="0">
                      <a:pos x="connsiteX3" y="connsiteY3"/>
                    </a:cxn>
                  </a:cxnLst>
                  <a:rect l="l" t="t" r="r" b="b"/>
                  <a:pathLst>
                    <a:path w="19050" h="38100">
                      <a:moveTo>
                        <a:pt x="0" y="0"/>
                      </a:moveTo>
                      <a:lnTo>
                        <a:pt x="19050" y="0"/>
                      </a:lnTo>
                      <a:lnTo>
                        <a:pt x="19050" y="38100"/>
                      </a:lnTo>
                      <a:lnTo>
                        <a:pt x="0" y="38100"/>
                      </a:lnTo>
                      <a:close/>
                    </a:path>
                  </a:pathLst>
                </a:custGeom>
                <a:grpFill/>
                <a:ln w="9525" cap="flat">
                  <a:noFill/>
                  <a:prstDash val="solid"/>
                  <a:miter/>
                </a:ln>
              </p:spPr>
              <p:txBody>
                <a:bodyPr rtlCol="0" anchor="ctr"/>
                <a:lstStyle/>
                <a:p>
                  <a:endParaRPr lang="zh-CN" altLang="en-US"/>
                </a:p>
              </p:txBody>
            </p:sp>
            <p:sp>
              <p:nvSpPr>
                <p:cNvPr id="87" name="任意多边形: 形状 86"/>
                <p:cNvSpPr/>
                <p:nvPr/>
              </p:nvSpPr>
              <p:spPr>
                <a:xfrm>
                  <a:off x="6764559" y="4538662"/>
                  <a:ext cx="19050" cy="38100"/>
                </a:xfrm>
                <a:custGeom>
                  <a:avLst/>
                  <a:gdLst>
                    <a:gd name="connsiteX0" fmla="*/ 0 w 19050"/>
                    <a:gd name="connsiteY0" fmla="*/ 0 h 38100"/>
                    <a:gd name="connsiteX1" fmla="*/ 19050 w 19050"/>
                    <a:gd name="connsiteY1" fmla="*/ 0 h 38100"/>
                    <a:gd name="connsiteX2" fmla="*/ 19050 w 19050"/>
                    <a:gd name="connsiteY2" fmla="*/ 38100 h 38100"/>
                    <a:gd name="connsiteX3" fmla="*/ 0 w 19050"/>
                    <a:gd name="connsiteY3" fmla="*/ 38100 h 38100"/>
                  </a:gdLst>
                  <a:ahLst/>
                  <a:cxnLst>
                    <a:cxn ang="0">
                      <a:pos x="connsiteX0" y="connsiteY0"/>
                    </a:cxn>
                    <a:cxn ang="0">
                      <a:pos x="connsiteX1" y="connsiteY1"/>
                    </a:cxn>
                    <a:cxn ang="0">
                      <a:pos x="connsiteX2" y="connsiteY2"/>
                    </a:cxn>
                    <a:cxn ang="0">
                      <a:pos x="connsiteX3" y="connsiteY3"/>
                    </a:cxn>
                  </a:cxnLst>
                  <a:rect l="l" t="t" r="r" b="b"/>
                  <a:pathLst>
                    <a:path w="19050" h="38100">
                      <a:moveTo>
                        <a:pt x="0" y="0"/>
                      </a:moveTo>
                      <a:lnTo>
                        <a:pt x="19050" y="0"/>
                      </a:lnTo>
                      <a:lnTo>
                        <a:pt x="19050" y="38100"/>
                      </a:lnTo>
                      <a:lnTo>
                        <a:pt x="0" y="38100"/>
                      </a:lnTo>
                      <a:close/>
                    </a:path>
                  </a:pathLst>
                </a:custGeom>
                <a:grpFill/>
                <a:ln w="9525" cap="flat">
                  <a:noFill/>
                  <a:prstDash val="solid"/>
                  <a:miter/>
                </a:ln>
              </p:spPr>
              <p:txBody>
                <a:bodyPr rtlCol="0" anchor="ctr"/>
                <a:lstStyle/>
                <a:p>
                  <a:endParaRPr lang="zh-CN" altLang="en-US"/>
                </a:p>
              </p:txBody>
            </p:sp>
            <p:sp>
              <p:nvSpPr>
                <p:cNvPr id="88" name="任意多边形: 形状 87"/>
                <p:cNvSpPr/>
                <p:nvPr/>
              </p:nvSpPr>
              <p:spPr>
                <a:xfrm>
                  <a:off x="6809231" y="4538662"/>
                  <a:ext cx="19050" cy="38100"/>
                </a:xfrm>
                <a:custGeom>
                  <a:avLst/>
                  <a:gdLst>
                    <a:gd name="connsiteX0" fmla="*/ 0 w 19050"/>
                    <a:gd name="connsiteY0" fmla="*/ 0 h 38100"/>
                    <a:gd name="connsiteX1" fmla="*/ 19050 w 19050"/>
                    <a:gd name="connsiteY1" fmla="*/ 0 h 38100"/>
                    <a:gd name="connsiteX2" fmla="*/ 19050 w 19050"/>
                    <a:gd name="connsiteY2" fmla="*/ 38100 h 38100"/>
                    <a:gd name="connsiteX3" fmla="*/ 0 w 19050"/>
                    <a:gd name="connsiteY3" fmla="*/ 38100 h 38100"/>
                  </a:gdLst>
                  <a:ahLst/>
                  <a:cxnLst>
                    <a:cxn ang="0">
                      <a:pos x="connsiteX0" y="connsiteY0"/>
                    </a:cxn>
                    <a:cxn ang="0">
                      <a:pos x="connsiteX1" y="connsiteY1"/>
                    </a:cxn>
                    <a:cxn ang="0">
                      <a:pos x="connsiteX2" y="connsiteY2"/>
                    </a:cxn>
                    <a:cxn ang="0">
                      <a:pos x="connsiteX3" y="connsiteY3"/>
                    </a:cxn>
                  </a:cxnLst>
                  <a:rect l="l" t="t" r="r" b="b"/>
                  <a:pathLst>
                    <a:path w="19050" h="38100">
                      <a:moveTo>
                        <a:pt x="0" y="0"/>
                      </a:moveTo>
                      <a:lnTo>
                        <a:pt x="19050" y="0"/>
                      </a:lnTo>
                      <a:lnTo>
                        <a:pt x="19050" y="38100"/>
                      </a:lnTo>
                      <a:lnTo>
                        <a:pt x="0" y="38100"/>
                      </a:lnTo>
                      <a:close/>
                    </a:path>
                  </a:pathLst>
                </a:custGeom>
                <a:grpFill/>
                <a:ln w="9525" cap="flat">
                  <a:noFill/>
                  <a:prstDash val="solid"/>
                  <a:miter/>
                </a:ln>
              </p:spPr>
              <p:txBody>
                <a:bodyPr rtlCol="0" anchor="ctr"/>
                <a:lstStyle/>
                <a:p>
                  <a:endParaRPr lang="zh-CN" altLang="en-US"/>
                </a:p>
              </p:txBody>
            </p:sp>
            <p:sp>
              <p:nvSpPr>
                <p:cNvPr id="89" name="任意多边形: 形状 88"/>
                <p:cNvSpPr/>
                <p:nvPr/>
              </p:nvSpPr>
              <p:spPr>
                <a:xfrm>
                  <a:off x="6853999" y="4538662"/>
                  <a:ext cx="19050" cy="38100"/>
                </a:xfrm>
                <a:custGeom>
                  <a:avLst/>
                  <a:gdLst>
                    <a:gd name="connsiteX0" fmla="*/ 0 w 19050"/>
                    <a:gd name="connsiteY0" fmla="*/ 0 h 38100"/>
                    <a:gd name="connsiteX1" fmla="*/ 19050 w 19050"/>
                    <a:gd name="connsiteY1" fmla="*/ 0 h 38100"/>
                    <a:gd name="connsiteX2" fmla="*/ 19050 w 19050"/>
                    <a:gd name="connsiteY2" fmla="*/ 38100 h 38100"/>
                    <a:gd name="connsiteX3" fmla="*/ 0 w 19050"/>
                    <a:gd name="connsiteY3" fmla="*/ 38100 h 38100"/>
                  </a:gdLst>
                  <a:ahLst/>
                  <a:cxnLst>
                    <a:cxn ang="0">
                      <a:pos x="connsiteX0" y="connsiteY0"/>
                    </a:cxn>
                    <a:cxn ang="0">
                      <a:pos x="connsiteX1" y="connsiteY1"/>
                    </a:cxn>
                    <a:cxn ang="0">
                      <a:pos x="connsiteX2" y="connsiteY2"/>
                    </a:cxn>
                    <a:cxn ang="0">
                      <a:pos x="connsiteX3" y="connsiteY3"/>
                    </a:cxn>
                  </a:cxnLst>
                  <a:rect l="l" t="t" r="r" b="b"/>
                  <a:pathLst>
                    <a:path w="19050" h="38100">
                      <a:moveTo>
                        <a:pt x="0" y="0"/>
                      </a:moveTo>
                      <a:lnTo>
                        <a:pt x="19050" y="0"/>
                      </a:lnTo>
                      <a:lnTo>
                        <a:pt x="19050" y="38100"/>
                      </a:lnTo>
                      <a:lnTo>
                        <a:pt x="0" y="38100"/>
                      </a:lnTo>
                      <a:close/>
                    </a:path>
                  </a:pathLst>
                </a:custGeom>
                <a:grpFill/>
                <a:ln w="9525" cap="flat">
                  <a:noFill/>
                  <a:prstDash val="solid"/>
                  <a:miter/>
                </a:ln>
              </p:spPr>
              <p:txBody>
                <a:bodyPr rtlCol="0" anchor="ctr"/>
                <a:lstStyle/>
                <a:p>
                  <a:endParaRPr lang="zh-CN" altLang="en-US"/>
                </a:p>
              </p:txBody>
            </p:sp>
            <p:sp>
              <p:nvSpPr>
                <p:cNvPr id="90" name="任意多边形: 形状 89"/>
                <p:cNvSpPr/>
                <p:nvPr/>
              </p:nvSpPr>
              <p:spPr>
                <a:xfrm>
                  <a:off x="6898671" y="4538662"/>
                  <a:ext cx="19050" cy="38100"/>
                </a:xfrm>
                <a:custGeom>
                  <a:avLst/>
                  <a:gdLst>
                    <a:gd name="connsiteX0" fmla="*/ 0 w 19050"/>
                    <a:gd name="connsiteY0" fmla="*/ 0 h 38100"/>
                    <a:gd name="connsiteX1" fmla="*/ 19050 w 19050"/>
                    <a:gd name="connsiteY1" fmla="*/ 0 h 38100"/>
                    <a:gd name="connsiteX2" fmla="*/ 19050 w 19050"/>
                    <a:gd name="connsiteY2" fmla="*/ 38100 h 38100"/>
                    <a:gd name="connsiteX3" fmla="*/ 0 w 19050"/>
                    <a:gd name="connsiteY3" fmla="*/ 38100 h 38100"/>
                  </a:gdLst>
                  <a:ahLst/>
                  <a:cxnLst>
                    <a:cxn ang="0">
                      <a:pos x="connsiteX0" y="connsiteY0"/>
                    </a:cxn>
                    <a:cxn ang="0">
                      <a:pos x="connsiteX1" y="connsiteY1"/>
                    </a:cxn>
                    <a:cxn ang="0">
                      <a:pos x="connsiteX2" y="connsiteY2"/>
                    </a:cxn>
                    <a:cxn ang="0">
                      <a:pos x="connsiteX3" y="connsiteY3"/>
                    </a:cxn>
                  </a:cxnLst>
                  <a:rect l="l" t="t" r="r" b="b"/>
                  <a:pathLst>
                    <a:path w="19050" h="38100">
                      <a:moveTo>
                        <a:pt x="0" y="0"/>
                      </a:moveTo>
                      <a:lnTo>
                        <a:pt x="19050" y="0"/>
                      </a:lnTo>
                      <a:lnTo>
                        <a:pt x="19050" y="38100"/>
                      </a:lnTo>
                      <a:lnTo>
                        <a:pt x="0" y="38100"/>
                      </a:lnTo>
                      <a:close/>
                    </a:path>
                  </a:pathLst>
                </a:custGeom>
                <a:grpFill/>
                <a:ln w="9525" cap="flat">
                  <a:noFill/>
                  <a:prstDash val="solid"/>
                  <a:miter/>
                </a:ln>
              </p:spPr>
              <p:txBody>
                <a:bodyPr rtlCol="0" anchor="ctr"/>
                <a:lstStyle/>
                <a:p>
                  <a:endParaRPr lang="zh-CN" altLang="en-US"/>
                </a:p>
              </p:txBody>
            </p:sp>
            <p:sp>
              <p:nvSpPr>
                <p:cNvPr id="91" name="任意多边形: 形状 90"/>
                <p:cNvSpPr/>
                <p:nvPr/>
              </p:nvSpPr>
              <p:spPr>
                <a:xfrm>
                  <a:off x="6943343" y="4538662"/>
                  <a:ext cx="19050" cy="38100"/>
                </a:xfrm>
                <a:custGeom>
                  <a:avLst/>
                  <a:gdLst>
                    <a:gd name="connsiteX0" fmla="*/ 0 w 19050"/>
                    <a:gd name="connsiteY0" fmla="*/ 0 h 38100"/>
                    <a:gd name="connsiteX1" fmla="*/ 19050 w 19050"/>
                    <a:gd name="connsiteY1" fmla="*/ 0 h 38100"/>
                    <a:gd name="connsiteX2" fmla="*/ 19050 w 19050"/>
                    <a:gd name="connsiteY2" fmla="*/ 38100 h 38100"/>
                    <a:gd name="connsiteX3" fmla="*/ 0 w 19050"/>
                    <a:gd name="connsiteY3" fmla="*/ 38100 h 38100"/>
                  </a:gdLst>
                  <a:ahLst/>
                  <a:cxnLst>
                    <a:cxn ang="0">
                      <a:pos x="connsiteX0" y="connsiteY0"/>
                    </a:cxn>
                    <a:cxn ang="0">
                      <a:pos x="connsiteX1" y="connsiteY1"/>
                    </a:cxn>
                    <a:cxn ang="0">
                      <a:pos x="connsiteX2" y="connsiteY2"/>
                    </a:cxn>
                    <a:cxn ang="0">
                      <a:pos x="connsiteX3" y="connsiteY3"/>
                    </a:cxn>
                  </a:cxnLst>
                  <a:rect l="l" t="t" r="r" b="b"/>
                  <a:pathLst>
                    <a:path w="19050" h="38100">
                      <a:moveTo>
                        <a:pt x="0" y="0"/>
                      </a:moveTo>
                      <a:lnTo>
                        <a:pt x="19050" y="0"/>
                      </a:lnTo>
                      <a:lnTo>
                        <a:pt x="19050" y="38100"/>
                      </a:lnTo>
                      <a:lnTo>
                        <a:pt x="0" y="38100"/>
                      </a:lnTo>
                      <a:close/>
                    </a:path>
                  </a:pathLst>
                </a:custGeom>
                <a:grpFill/>
                <a:ln w="9525" cap="flat">
                  <a:noFill/>
                  <a:prstDash val="solid"/>
                  <a:miter/>
                </a:ln>
              </p:spPr>
              <p:txBody>
                <a:bodyPr rtlCol="0" anchor="ctr"/>
                <a:lstStyle/>
                <a:p>
                  <a:endParaRPr lang="zh-CN" altLang="en-US"/>
                </a:p>
              </p:txBody>
            </p:sp>
            <p:sp>
              <p:nvSpPr>
                <p:cNvPr id="92" name="任意多边形: 形状 91"/>
                <p:cNvSpPr/>
                <p:nvPr/>
              </p:nvSpPr>
              <p:spPr>
                <a:xfrm>
                  <a:off x="6988015" y="4538662"/>
                  <a:ext cx="19050" cy="38100"/>
                </a:xfrm>
                <a:custGeom>
                  <a:avLst/>
                  <a:gdLst>
                    <a:gd name="connsiteX0" fmla="*/ 0 w 19050"/>
                    <a:gd name="connsiteY0" fmla="*/ 0 h 38100"/>
                    <a:gd name="connsiteX1" fmla="*/ 19050 w 19050"/>
                    <a:gd name="connsiteY1" fmla="*/ 0 h 38100"/>
                    <a:gd name="connsiteX2" fmla="*/ 19050 w 19050"/>
                    <a:gd name="connsiteY2" fmla="*/ 38100 h 38100"/>
                    <a:gd name="connsiteX3" fmla="*/ 0 w 19050"/>
                    <a:gd name="connsiteY3" fmla="*/ 38100 h 38100"/>
                  </a:gdLst>
                  <a:ahLst/>
                  <a:cxnLst>
                    <a:cxn ang="0">
                      <a:pos x="connsiteX0" y="connsiteY0"/>
                    </a:cxn>
                    <a:cxn ang="0">
                      <a:pos x="connsiteX1" y="connsiteY1"/>
                    </a:cxn>
                    <a:cxn ang="0">
                      <a:pos x="connsiteX2" y="connsiteY2"/>
                    </a:cxn>
                    <a:cxn ang="0">
                      <a:pos x="connsiteX3" y="connsiteY3"/>
                    </a:cxn>
                  </a:cxnLst>
                  <a:rect l="l" t="t" r="r" b="b"/>
                  <a:pathLst>
                    <a:path w="19050" h="38100">
                      <a:moveTo>
                        <a:pt x="0" y="0"/>
                      </a:moveTo>
                      <a:lnTo>
                        <a:pt x="19050" y="0"/>
                      </a:lnTo>
                      <a:lnTo>
                        <a:pt x="19050" y="38100"/>
                      </a:lnTo>
                      <a:lnTo>
                        <a:pt x="0" y="38100"/>
                      </a:lnTo>
                      <a:close/>
                    </a:path>
                  </a:pathLst>
                </a:custGeom>
                <a:grpFill/>
                <a:ln w="9525" cap="flat">
                  <a:noFill/>
                  <a:prstDash val="solid"/>
                  <a:miter/>
                </a:ln>
              </p:spPr>
              <p:txBody>
                <a:bodyPr rtlCol="0" anchor="ctr"/>
                <a:lstStyle/>
                <a:p>
                  <a:endParaRPr lang="zh-CN" altLang="en-US"/>
                </a:p>
              </p:txBody>
            </p:sp>
            <p:sp>
              <p:nvSpPr>
                <p:cNvPr id="93" name="任意多边形: 形状 92"/>
                <p:cNvSpPr/>
                <p:nvPr/>
              </p:nvSpPr>
              <p:spPr>
                <a:xfrm>
                  <a:off x="7032783" y="4538662"/>
                  <a:ext cx="19050" cy="38100"/>
                </a:xfrm>
                <a:custGeom>
                  <a:avLst/>
                  <a:gdLst>
                    <a:gd name="connsiteX0" fmla="*/ 0 w 19050"/>
                    <a:gd name="connsiteY0" fmla="*/ 0 h 38100"/>
                    <a:gd name="connsiteX1" fmla="*/ 19050 w 19050"/>
                    <a:gd name="connsiteY1" fmla="*/ 0 h 38100"/>
                    <a:gd name="connsiteX2" fmla="*/ 19050 w 19050"/>
                    <a:gd name="connsiteY2" fmla="*/ 38100 h 38100"/>
                    <a:gd name="connsiteX3" fmla="*/ 0 w 19050"/>
                    <a:gd name="connsiteY3" fmla="*/ 38100 h 38100"/>
                  </a:gdLst>
                  <a:ahLst/>
                  <a:cxnLst>
                    <a:cxn ang="0">
                      <a:pos x="connsiteX0" y="connsiteY0"/>
                    </a:cxn>
                    <a:cxn ang="0">
                      <a:pos x="connsiteX1" y="connsiteY1"/>
                    </a:cxn>
                    <a:cxn ang="0">
                      <a:pos x="connsiteX2" y="connsiteY2"/>
                    </a:cxn>
                    <a:cxn ang="0">
                      <a:pos x="connsiteX3" y="connsiteY3"/>
                    </a:cxn>
                  </a:cxnLst>
                  <a:rect l="l" t="t" r="r" b="b"/>
                  <a:pathLst>
                    <a:path w="19050" h="38100">
                      <a:moveTo>
                        <a:pt x="0" y="0"/>
                      </a:moveTo>
                      <a:lnTo>
                        <a:pt x="19050" y="0"/>
                      </a:lnTo>
                      <a:lnTo>
                        <a:pt x="19050" y="38100"/>
                      </a:lnTo>
                      <a:lnTo>
                        <a:pt x="0" y="38100"/>
                      </a:lnTo>
                      <a:close/>
                    </a:path>
                  </a:pathLst>
                </a:custGeom>
                <a:grpFill/>
                <a:ln w="9525" cap="flat">
                  <a:noFill/>
                  <a:prstDash val="solid"/>
                  <a:miter/>
                </a:ln>
              </p:spPr>
              <p:txBody>
                <a:bodyPr rtlCol="0" anchor="ctr"/>
                <a:lstStyle/>
                <a:p>
                  <a:endParaRPr lang="zh-CN" altLang="en-US"/>
                </a:p>
              </p:txBody>
            </p:sp>
            <p:sp>
              <p:nvSpPr>
                <p:cNvPr id="94" name="任意多边形: 形状 93"/>
                <p:cNvSpPr/>
                <p:nvPr/>
              </p:nvSpPr>
              <p:spPr>
                <a:xfrm>
                  <a:off x="7077455" y="4538662"/>
                  <a:ext cx="19050" cy="38100"/>
                </a:xfrm>
                <a:custGeom>
                  <a:avLst/>
                  <a:gdLst>
                    <a:gd name="connsiteX0" fmla="*/ 0 w 19050"/>
                    <a:gd name="connsiteY0" fmla="*/ 0 h 38100"/>
                    <a:gd name="connsiteX1" fmla="*/ 19050 w 19050"/>
                    <a:gd name="connsiteY1" fmla="*/ 0 h 38100"/>
                    <a:gd name="connsiteX2" fmla="*/ 19050 w 19050"/>
                    <a:gd name="connsiteY2" fmla="*/ 38100 h 38100"/>
                    <a:gd name="connsiteX3" fmla="*/ 0 w 19050"/>
                    <a:gd name="connsiteY3" fmla="*/ 38100 h 38100"/>
                  </a:gdLst>
                  <a:ahLst/>
                  <a:cxnLst>
                    <a:cxn ang="0">
                      <a:pos x="connsiteX0" y="connsiteY0"/>
                    </a:cxn>
                    <a:cxn ang="0">
                      <a:pos x="connsiteX1" y="connsiteY1"/>
                    </a:cxn>
                    <a:cxn ang="0">
                      <a:pos x="connsiteX2" y="connsiteY2"/>
                    </a:cxn>
                    <a:cxn ang="0">
                      <a:pos x="connsiteX3" y="connsiteY3"/>
                    </a:cxn>
                  </a:cxnLst>
                  <a:rect l="l" t="t" r="r" b="b"/>
                  <a:pathLst>
                    <a:path w="19050" h="38100">
                      <a:moveTo>
                        <a:pt x="0" y="0"/>
                      </a:moveTo>
                      <a:lnTo>
                        <a:pt x="19050" y="0"/>
                      </a:lnTo>
                      <a:lnTo>
                        <a:pt x="19050" y="38100"/>
                      </a:lnTo>
                      <a:lnTo>
                        <a:pt x="0" y="38100"/>
                      </a:lnTo>
                      <a:close/>
                    </a:path>
                  </a:pathLst>
                </a:custGeom>
                <a:grpFill/>
                <a:ln w="9525" cap="flat">
                  <a:noFill/>
                  <a:prstDash val="solid"/>
                  <a:miter/>
                </a:ln>
              </p:spPr>
              <p:txBody>
                <a:bodyPr rtlCol="0" anchor="ctr"/>
                <a:lstStyle/>
                <a:p>
                  <a:endParaRPr lang="zh-CN" altLang="en-US"/>
                </a:p>
              </p:txBody>
            </p:sp>
            <p:sp>
              <p:nvSpPr>
                <p:cNvPr id="95" name="任意多边形: 形状 94"/>
                <p:cNvSpPr/>
                <p:nvPr/>
              </p:nvSpPr>
              <p:spPr>
                <a:xfrm>
                  <a:off x="7122127" y="4538662"/>
                  <a:ext cx="19050" cy="38100"/>
                </a:xfrm>
                <a:custGeom>
                  <a:avLst/>
                  <a:gdLst>
                    <a:gd name="connsiteX0" fmla="*/ 0 w 19050"/>
                    <a:gd name="connsiteY0" fmla="*/ 0 h 38100"/>
                    <a:gd name="connsiteX1" fmla="*/ 19050 w 19050"/>
                    <a:gd name="connsiteY1" fmla="*/ 0 h 38100"/>
                    <a:gd name="connsiteX2" fmla="*/ 19050 w 19050"/>
                    <a:gd name="connsiteY2" fmla="*/ 38100 h 38100"/>
                    <a:gd name="connsiteX3" fmla="*/ 0 w 19050"/>
                    <a:gd name="connsiteY3" fmla="*/ 38100 h 38100"/>
                  </a:gdLst>
                  <a:ahLst/>
                  <a:cxnLst>
                    <a:cxn ang="0">
                      <a:pos x="connsiteX0" y="connsiteY0"/>
                    </a:cxn>
                    <a:cxn ang="0">
                      <a:pos x="connsiteX1" y="connsiteY1"/>
                    </a:cxn>
                    <a:cxn ang="0">
                      <a:pos x="connsiteX2" y="connsiteY2"/>
                    </a:cxn>
                    <a:cxn ang="0">
                      <a:pos x="connsiteX3" y="connsiteY3"/>
                    </a:cxn>
                  </a:cxnLst>
                  <a:rect l="l" t="t" r="r" b="b"/>
                  <a:pathLst>
                    <a:path w="19050" h="38100">
                      <a:moveTo>
                        <a:pt x="0" y="0"/>
                      </a:moveTo>
                      <a:lnTo>
                        <a:pt x="19050" y="0"/>
                      </a:lnTo>
                      <a:lnTo>
                        <a:pt x="19050" y="38100"/>
                      </a:lnTo>
                      <a:lnTo>
                        <a:pt x="0" y="38100"/>
                      </a:lnTo>
                      <a:close/>
                    </a:path>
                  </a:pathLst>
                </a:custGeom>
                <a:grpFill/>
                <a:ln w="9525" cap="flat">
                  <a:noFill/>
                  <a:prstDash val="solid"/>
                  <a:miter/>
                </a:ln>
              </p:spPr>
              <p:txBody>
                <a:bodyPr rtlCol="0" anchor="ctr"/>
                <a:lstStyle/>
                <a:p>
                  <a:endParaRPr lang="zh-CN" altLang="en-US"/>
                </a:p>
              </p:txBody>
            </p:sp>
            <p:sp>
              <p:nvSpPr>
                <p:cNvPr id="96" name="任意多边形: 形状 95"/>
                <p:cNvSpPr/>
                <p:nvPr/>
              </p:nvSpPr>
              <p:spPr>
                <a:xfrm>
                  <a:off x="7166800" y="4538662"/>
                  <a:ext cx="19050" cy="38100"/>
                </a:xfrm>
                <a:custGeom>
                  <a:avLst/>
                  <a:gdLst>
                    <a:gd name="connsiteX0" fmla="*/ 0 w 19050"/>
                    <a:gd name="connsiteY0" fmla="*/ 0 h 38100"/>
                    <a:gd name="connsiteX1" fmla="*/ 19050 w 19050"/>
                    <a:gd name="connsiteY1" fmla="*/ 0 h 38100"/>
                    <a:gd name="connsiteX2" fmla="*/ 19050 w 19050"/>
                    <a:gd name="connsiteY2" fmla="*/ 38100 h 38100"/>
                    <a:gd name="connsiteX3" fmla="*/ 0 w 19050"/>
                    <a:gd name="connsiteY3" fmla="*/ 38100 h 38100"/>
                  </a:gdLst>
                  <a:ahLst/>
                  <a:cxnLst>
                    <a:cxn ang="0">
                      <a:pos x="connsiteX0" y="connsiteY0"/>
                    </a:cxn>
                    <a:cxn ang="0">
                      <a:pos x="connsiteX1" y="connsiteY1"/>
                    </a:cxn>
                    <a:cxn ang="0">
                      <a:pos x="connsiteX2" y="connsiteY2"/>
                    </a:cxn>
                    <a:cxn ang="0">
                      <a:pos x="connsiteX3" y="connsiteY3"/>
                    </a:cxn>
                  </a:cxnLst>
                  <a:rect l="l" t="t" r="r" b="b"/>
                  <a:pathLst>
                    <a:path w="19050" h="38100">
                      <a:moveTo>
                        <a:pt x="0" y="0"/>
                      </a:moveTo>
                      <a:lnTo>
                        <a:pt x="19050" y="0"/>
                      </a:lnTo>
                      <a:lnTo>
                        <a:pt x="19050" y="38100"/>
                      </a:lnTo>
                      <a:lnTo>
                        <a:pt x="0" y="38100"/>
                      </a:lnTo>
                      <a:close/>
                    </a:path>
                  </a:pathLst>
                </a:custGeom>
                <a:grpFill/>
                <a:ln w="9525" cap="flat">
                  <a:noFill/>
                  <a:prstDash val="solid"/>
                  <a:miter/>
                </a:ln>
              </p:spPr>
              <p:txBody>
                <a:bodyPr rtlCol="0" anchor="ctr"/>
                <a:lstStyle/>
                <a:p>
                  <a:endParaRPr lang="zh-CN" altLang="en-US"/>
                </a:p>
              </p:txBody>
            </p:sp>
            <p:sp>
              <p:nvSpPr>
                <p:cNvPr id="97" name="任意多边形: 形状 96"/>
                <p:cNvSpPr/>
                <p:nvPr/>
              </p:nvSpPr>
              <p:spPr>
                <a:xfrm>
                  <a:off x="7211567" y="4538662"/>
                  <a:ext cx="19050" cy="38100"/>
                </a:xfrm>
                <a:custGeom>
                  <a:avLst/>
                  <a:gdLst>
                    <a:gd name="connsiteX0" fmla="*/ 0 w 19050"/>
                    <a:gd name="connsiteY0" fmla="*/ 0 h 38100"/>
                    <a:gd name="connsiteX1" fmla="*/ 19050 w 19050"/>
                    <a:gd name="connsiteY1" fmla="*/ 0 h 38100"/>
                    <a:gd name="connsiteX2" fmla="*/ 19050 w 19050"/>
                    <a:gd name="connsiteY2" fmla="*/ 38100 h 38100"/>
                    <a:gd name="connsiteX3" fmla="*/ 0 w 19050"/>
                    <a:gd name="connsiteY3" fmla="*/ 38100 h 38100"/>
                  </a:gdLst>
                  <a:ahLst/>
                  <a:cxnLst>
                    <a:cxn ang="0">
                      <a:pos x="connsiteX0" y="connsiteY0"/>
                    </a:cxn>
                    <a:cxn ang="0">
                      <a:pos x="connsiteX1" y="connsiteY1"/>
                    </a:cxn>
                    <a:cxn ang="0">
                      <a:pos x="connsiteX2" y="connsiteY2"/>
                    </a:cxn>
                    <a:cxn ang="0">
                      <a:pos x="connsiteX3" y="connsiteY3"/>
                    </a:cxn>
                  </a:cxnLst>
                  <a:rect l="l" t="t" r="r" b="b"/>
                  <a:pathLst>
                    <a:path w="19050" h="38100">
                      <a:moveTo>
                        <a:pt x="0" y="0"/>
                      </a:moveTo>
                      <a:lnTo>
                        <a:pt x="19050" y="0"/>
                      </a:lnTo>
                      <a:lnTo>
                        <a:pt x="19050" y="38100"/>
                      </a:lnTo>
                      <a:lnTo>
                        <a:pt x="0" y="38100"/>
                      </a:lnTo>
                      <a:close/>
                    </a:path>
                  </a:pathLst>
                </a:custGeom>
                <a:grpFill/>
                <a:ln w="9525" cap="flat">
                  <a:noFill/>
                  <a:prstDash val="solid"/>
                  <a:miter/>
                </a:ln>
              </p:spPr>
              <p:txBody>
                <a:bodyPr rtlCol="0" anchor="ctr"/>
                <a:lstStyle/>
                <a:p>
                  <a:endParaRPr lang="zh-CN" altLang="en-US"/>
                </a:p>
              </p:txBody>
            </p:sp>
            <p:sp>
              <p:nvSpPr>
                <p:cNvPr id="98" name="任意多边形: 形状 97"/>
                <p:cNvSpPr/>
                <p:nvPr/>
              </p:nvSpPr>
              <p:spPr>
                <a:xfrm>
                  <a:off x="7256239" y="4538662"/>
                  <a:ext cx="19050" cy="38100"/>
                </a:xfrm>
                <a:custGeom>
                  <a:avLst/>
                  <a:gdLst>
                    <a:gd name="connsiteX0" fmla="*/ 0 w 19050"/>
                    <a:gd name="connsiteY0" fmla="*/ 0 h 38100"/>
                    <a:gd name="connsiteX1" fmla="*/ 19050 w 19050"/>
                    <a:gd name="connsiteY1" fmla="*/ 0 h 38100"/>
                    <a:gd name="connsiteX2" fmla="*/ 19050 w 19050"/>
                    <a:gd name="connsiteY2" fmla="*/ 38100 h 38100"/>
                    <a:gd name="connsiteX3" fmla="*/ 0 w 19050"/>
                    <a:gd name="connsiteY3" fmla="*/ 38100 h 38100"/>
                  </a:gdLst>
                  <a:ahLst/>
                  <a:cxnLst>
                    <a:cxn ang="0">
                      <a:pos x="connsiteX0" y="connsiteY0"/>
                    </a:cxn>
                    <a:cxn ang="0">
                      <a:pos x="connsiteX1" y="connsiteY1"/>
                    </a:cxn>
                    <a:cxn ang="0">
                      <a:pos x="connsiteX2" y="connsiteY2"/>
                    </a:cxn>
                    <a:cxn ang="0">
                      <a:pos x="connsiteX3" y="connsiteY3"/>
                    </a:cxn>
                  </a:cxnLst>
                  <a:rect l="l" t="t" r="r" b="b"/>
                  <a:pathLst>
                    <a:path w="19050" h="38100">
                      <a:moveTo>
                        <a:pt x="0" y="0"/>
                      </a:moveTo>
                      <a:lnTo>
                        <a:pt x="19050" y="0"/>
                      </a:lnTo>
                      <a:lnTo>
                        <a:pt x="19050" y="38100"/>
                      </a:lnTo>
                      <a:lnTo>
                        <a:pt x="0" y="38100"/>
                      </a:lnTo>
                      <a:close/>
                    </a:path>
                  </a:pathLst>
                </a:custGeom>
                <a:grpFill/>
                <a:ln w="9525" cap="flat">
                  <a:noFill/>
                  <a:prstDash val="solid"/>
                  <a:miter/>
                </a:ln>
              </p:spPr>
              <p:txBody>
                <a:bodyPr rtlCol="0" anchor="ctr"/>
                <a:lstStyle/>
                <a:p>
                  <a:endParaRPr lang="zh-CN" altLang="en-US"/>
                </a:p>
              </p:txBody>
            </p:sp>
            <p:sp>
              <p:nvSpPr>
                <p:cNvPr id="99" name="任意多边形: 形状 98"/>
                <p:cNvSpPr/>
                <p:nvPr/>
              </p:nvSpPr>
              <p:spPr>
                <a:xfrm>
                  <a:off x="7300912" y="4538662"/>
                  <a:ext cx="19050" cy="38100"/>
                </a:xfrm>
                <a:custGeom>
                  <a:avLst/>
                  <a:gdLst>
                    <a:gd name="connsiteX0" fmla="*/ 0 w 19050"/>
                    <a:gd name="connsiteY0" fmla="*/ 0 h 38100"/>
                    <a:gd name="connsiteX1" fmla="*/ 19050 w 19050"/>
                    <a:gd name="connsiteY1" fmla="*/ 0 h 38100"/>
                    <a:gd name="connsiteX2" fmla="*/ 19050 w 19050"/>
                    <a:gd name="connsiteY2" fmla="*/ 38100 h 38100"/>
                    <a:gd name="connsiteX3" fmla="*/ 0 w 19050"/>
                    <a:gd name="connsiteY3" fmla="*/ 38100 h 38100"/>
                  </a:gdLst>
                  <a:ahLst/>
                  <a:cxnLst>
                    <a:cxn ang="0">
                      <a:pos x="connsiteX0" y="connsiteY0"/>
                    </a:cxn>
                    <a:cxn ang="0">
                      <a:pos x="connsiteX1" y="connsiteY1"/>
                    </a:cxn>
                    <a:cxn ang="0">
                      <a:pos x="connsiteX2" y="connsiteY2"/>
                    </a:cxn>
                    <a:cxn ang="0">
                      <a:pos x="connsiteX3" y="connsiteY3"/>
                    </a:cxn>
                  </a:cxnLst>
                  <a:rect l="l" t="t" r="r" b="b"/>
                  <a:pathLst>
                    <a:path w="19050" h="38100">
                      <a:moveTo>
                        <a:pt x="0" y="0"/>
                      </a:moveTo>
                      <a:lnTo>
                        <a:pt x="19050" y="0"/>
                      </a:lnTo>
                      <a:lnTo>
                        <a:pt x="19050" y="38100"/>
                      </a:lnTo>
                      <a:lnTo>
                        <a:pt x="0" y="38100"/>
                      </a:lnTo>
                      <a:close/>
                    </a:path>
                  </a:pathLst>
                </a:custGeom>
                <a:grpFill/>
                <a:ln w="9525" cap="flat">
                  <a:noFill/>
                  <a:prstDash val="solid"/>
                  <a:miter/>
                </a:ln>
              </p:spPr>
              <p:txBody>
                <a:bodyPr rtlCol="0" anchor="ctr"/>
                <a:lstStyle/>
                <a:p>
                  <a:endParaRPr lang="zh-CN" altLang="en-US"/>
                </a:p>
              </p:txBody>
            </p:sp>
          </p:grpSp>
          <p:sp>
            <p:nvSpPr>
              <p:cNvPr id="28" name="任意多边形: 形状 27"/>
              <p:cNvSpPr/>
              <p:nvPr/>
            </p:nvSpPr>
            <p:spPr>
              <a:xfrm>
                <a:off x="4650176" y="5471127"/>
                <a:ext cx="2270843" cy="98022"/>
              </a:xfrm>
              <a:custGeom>
                <a:avLst/>
                <a:gdLst>
                  <a:gd name="connsiteX0" fmla="*/ 57150 w 1323975"/>
                  <a:gd name="connsiteY0" fmla="*/ 0 h 57150"/>
                  <a:gd name="connsiteX1" fmla="*/ 0 w 1323975"/>
                  <a:gd name="connsiteY1" fmla="*/ 57150 h 57150"/>
                  <a:gd name="connsiteX2" fmla="*/ 1323975 w 1323975"/>
                  <a:gd name="connsiteY2" fmla="*/ 57150 h 57150"/>
                  <a:gd name="connsiteX3" fmla="*/ 1323975 w 1323975"/>
                  <a:gd name="connsiteY3" fmla="*/ 0 h 57150"/>
                  <a:gd name="connsiteX4" fmla="*/ 57150 w 1323975"/>
                  <a:gd name="connsiteY4" fmla="*/ 0 h 57150"/>
                  <a:gd name="connsiteX5" fmla="*/ 1314450 w 1323975"/>
                  <a:gd name="connsiteY5" fmla="*/ 47625 h 57150"/>
                  <a:gd name="connsiteX6" fmla="*/ 28575 w 1323975"/>
                  <a:gd name="connsiteY6" fmla="*/ 47625 h 57150"/>
                  <a:gd name="connsiteX7" fmla="*/ 66675 w 1323975"/>
                  <a:gd name="connsiteY7" fmla="*/ 9525 h 57150"/>
                  <a:gd name="connsiteX8" fmla="*/ 1314450 w 1323975"/>
                  <a:gd name="connsiteY8" fmla="*/ 9525 h 57150"/>
                  <a:gd name="connsiteX9" fmla="*/ 1314450 w 1323975"/>
                  <a:gd name="connsiteY9" fmla="*/ 47625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23975" h="57150">
                    <a:moveTo>
                      <a:pt x="57150" y="0"/>
                    </a:moveTo>
                    <a:lnTo>
                      <a:pt x="0" y="57150"/>
                    </a:lnTo>
                    <a:lnTo>
                      <a:pt x="1323975" y="57150"/>
                    </a:lnTo>
                    <a:lnTo>
                      <a:pt x="1323975" y="0"/>
                    </a:lnTo>
                    <a:lnTo>
                      <a:pt x="57150" y="0"/>
                    </a:lnTo>
                    <a:close/>
                    <a:moveTo>
                      <a:pt x="1314450" y="47625"/>
                    </a:moveTo>
                    <a:lnTo>
                      <a:pt x="28575" y="47625"/>
                    </a:lnTo>
                    <a:lnTo>
                      <a:pt x="66675" y="9525"/>
                    </a:lnTo>
                    <a:lnTo>
                      <a:pt x="1314450" y="9525"/>
                    </a:lnTo>
                    <a:lnTo>
                      <a:pt x="1314450" y="47625"/>
                    </a:lnTo>
                    <a:close/>
                  </a:path>
                </a:pathLst>
              </a:custGeom>
              <a:solidFill>
                <a:schemeClr val="accent2"/>
              </a:solidFill>
              <a:ln w="9525" cap="flat">
                <a:noFill/>
                <a:prstDash val="solid"/>
                <a:miter/>
              </a:ln>
            </p:spPr>
            <p:txBody>
              <a:bodyPr rtlCol="0" anchor="ctr"/>
              <a:lstStyle/>
              <a:p>
                <a:endParaRPr lang="zh-CN" altLang="en-US"/>
              </a:p>
            </p:txBody>
          </p:sp>
          <p:sp>
            <p:nvSpPr>
              <p:cNvPr id="29" name="任意多边形: 形状 28"/>
              <p:cNvSpPr/>
              <p:nvPr/>
            </p:nvSpPr>
            <p:spPr>
              <a:xfrm>
                <a:off x="7035378" y="5471127"/>
                <a:ext cx="1257949" cy="98022"/>
              </a:xfrm>
              <a:custGeom>
                <a:avLst/>
                <a:gdLst>
                  <a:gd name="connsiteX0" fmla="*/ 0 w 733425"/>
                  <a:gd name="connsiteY0" fmla="*/ 0 h 57150"/>
                  <a:gd name="connsiteX1" fmla="*/ 0 w 733425"/>
                  <a:gd name="connsiteY1" fmla="*/ 57150 h 57150"/>
                  <a:gd name="connsiteX2" fmla="*/ 733425 w 733425"/>
                  <a:gd name="connsiteY2" fmla="*/ 57150 h 57150"/>
                  <a:gd name="connsiteX3" fmla="*/ 733425 w 733425"/>
                  <a:gd name="connsiteY3" fmla="*/ 0 h 57150"/>
                  <a:gd name="connsiteX4" fmla="*/ 0 w 733425"/>
                  <a:gd name="connsiteY4" fmla="*/ 0 h 57150"/>
                  <a:gd name="connsiteX5" fmla="*/ 723900 w 733425"/>
                  <a:gd name="connsiteY5" fmla="*/ 47625 h 57150"/>
                  <a:gd name="connsiteX6" fmla="*/ 9525 w 733425"/>
                  <a:gd name="connsiteY6" fmla="*/ 47625 h 57150"/>
                  <a:gd name="connsiteX7" fmla="*/ 9525 w 733425"/>
                  <a:gd name="connsiteY7" fmla="*/ 9525 h 57150"/>
                  <a:gd name="connsiteX8" fmla="*/ 723900 w 733425"/>
                  <a:gd name="connsiteY8" fmla="*/ 9525 h 57150"/>
                  <a:gd name="connsiteX9" fmla="*/ 723900 w 733425"/>
                  <a:gd name="connsiteY9" fmla="*/ 47625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33425" h="57150">
                    <a:moveTo>
                      <a:pt x="0" y="0"/>
                    </a:moveTo>
                    <a:lnTo>
                      <a:pt x="0" y="57150"/>
                    </a:lnTo>
                    <a:lnTo>
                      <a:pt x="733425" y="57150"/>
                    </a:lnTo>
                    <a:lnTo>
                      <a:pt x="733425" y="0"/>
                    </a:lnTo>
                    <a:lnTo>
                      <a:pt x="0" y="0"/>
                    </a:lnTo>
                    <a:close/>
                    <a:moveTo>
                      <a:pt x="723900" y="47625"/>
                    </a:moveTo>
                    <a:lnTo>
                      <a:pt x="9525" y="47625"/>
                    </a:lnTo>
                    <a:lnTo>
                      <a:pt x="9525" y="9525"/>
                    </a:lnTo>
                    <a:lnTo>
                      <a:pt x="723900" y="9525"/>
                    </a:lnTo>
                    <a:lnTo>
                      <a:pt x="723900" y="47625"/>
                    </a:lnTo>
                    <a:close/>
                  </a:path>
                </a:pathLst>
              </a:custGeom>
              <a:solidFill>
                <a:schemeClr val="accent2"/>
              </a:solidFill>
              <a:ln w="9525" cap="flat">
                <a:noFill/>
                <a:prstDash val="solid"/>
                <a:miter/>
              </a:ln>
            </p:spPr>
            <p:txBody>
              <a:bodyPr rtlCol="0" anchor="ctr"/>
              <a:lstStyle/>
              <a:p>
                <a:endParaRPr lang="zh-CN" altLang="en-US"/>
              </a:p>
            </p:txBody>
          </p:sp>
          <p:grpSp>
            <p:nvGrpSpPr>
              <p:cNvPr id="30" name="组合 29"/>
              <p:cNvGrpSpPr/>
              <p:nvPr/>
            </p:nvGrpSpPr>
            <p:grpSpPr>
              <a:xfrm>
                <a:off x="1333764" y="4997354"/>
                <a:ext cx="2924324" cy="441099"/>
                <a:chOff x="1333764" y="4997354"/>
                <a:chExt cx="2924324" cy="441099"/>
              </a:xfrm>
            </p:grpSpPr>
            <p:sp>
              <p:nvSpPr>
                <p:cNvPr id="74" name="任意多边形: 形状 73"/>
                <p:cNvSpPr/>
                <p:nvPr/>
              </p:nvSpPr>
              <p:spPr>
                <a:xfrm>
                  <a:off x="1333764" y="4997354"/>
                  <a:ext cx="2924324" cy="294066"/>
                </a:xfrm>
                <a:custGeom>
                  <a:avLst/>
                  <a:gdLst>
                    <a:gd name="connsiteX0" fmla="*/ 1681163 w 1704975"/>
                    <a:gd name="connsiteY0" fmla="*/ 123825 h 171450"/>
                    <a:gd name="connsiteX1" fmla="*/ 1657826 w 1704975"/>
                    <a:gd name="connsiteY1" fmla="*/ 142875 h 171450"/>
                    <a:gd name="connsiteX2" fmla="*/ 152400 w 1704975"/>
                    <a:gd name="connsiteY2" fmla="*/ 142875 h 171450"/>
                    <a:gd name="connsiteX3" fmla="*/ 41339 w 1704975"/>
                    <a:gd name="connsiteY3" fmla="*/ 39814 h 171450"/>
                    <a:gd name="connsiteX4" fmla="*/ 47625 w 1704975"/>
                    <a:gd name="connsiteY4" fmla="*/ 23813 h 171450"/>
                    <a:gd name="connsiteX5" fmla="*/ 23813 w 1704975"/>
                    <a:gd name="connsiteY5" fmla="*/ 0 h 171450"/>
                    <a:gd name="connsiteX6" fmla="*/ 0 w 1704975"/>
                    <a:gd name="connsiteY6" fmla="*/ 23813 h 171450"/>
                    <a:gd name="connsiteX7" fmla="*/ 23813 w 1704975"/>
                    <a:gd name="connsiteY7" fmla="*/ 47625 h 171450"/>
                    <a:gd name="connsiteX8" fmla="*/ 35909 w 1704975"/>
                    <a:gd name="connsiteY8" fmla="*/ 44196 h 171450"/>
                    <a:gd name="connsiteX9" fmla="*/ 152400 w 1704975"/>
                    <a:gd name="connsiteY9" fmla="*/ 152400 h 171450"/>
                    <a:gd name="connsiteX10" fmla="*/ 1657826 w 1704975"/>
                    <a:gd name="connsiteY10" fmla="*/ 152400 h 171450"/>
                    <a:gd name="connsiteX11" fmla="*/ 1681163 w 1704975"/>
                    <a:gd name="connsiteY11" fmla="*/ 171450 h 171450"/>
                    <a:gd name="connsiteX12" fmla="*/ 1704975 w 1704975"/>
                    <a:gd name="connsiteY12" fmla="*/ 147638 h 171450"/>
                    <a:gd name="connsiteX13" fmla="*/ 1681163 w 1704975"/>
                    <a:gd name="connsiteY13" fmla="*/ 123825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04975" h="171450">
                      <a:moveTo>
                        <a:pt x="1681163" y="123825"/>
                      </a:moveTo>
                      <a:cubicBezTo>
                        <a:pt x="1669637" y="123825"/>
                        <a:pt x="1660017" y="132017"/>
                        <a:pt x="1657826" y="142875"/>
                      </a:cubicBezTo>
                      <a:lnTo>
                        <a:pt x="152400" y="142875"/>
                      </a:lnTo>
                      <a:lnTo>
                        <a:pt x="41339" y="39814"/>
                      </a:lnTo>
                      <a:cubicBezTo>
                        <a:pt x="45148" y="35624"/>
                        <a:pt x="47625" y="30004"/>
                        <a:pt x="47625" y="23813"/>
                      </a:cubicBezTo>
                      <a:cubicBezTo>
                        <a:pt x="47625" y="10668"/>
                        <a:pt x="36957" y="0"/>
                        <a:pt x="23813" y="0"/>
                      </a:cubicBezTo>
                      <a:cubicBezTo>
                        <a:pt x="10668" y="0"/>
                        <a:pt x="0" y="10668"/>
                        <a:pt x="0" y="23813"/>
                      </a:cubicBezTo>
                      <a:cubicBezTo>
                        <a:pt x="0" y="36957"/>
                        <a:pt x="10668" y="47625"/>
                        <a:pt x="23813" y="47625"/>
                      </a:cubicBezTo>
                      <a:cubicBezTo>
                        <a:pt x="28289" y="47625"/>
                        <a:pt x="32385" y="46292"/>
                        <a:pt x="35909" y="44196"/>
                      </a:cubicBezTo>
                      <a:lnTo>
                        <a:pt x="152400" y="152400"/>
                      </a:lnTo>
                      <a:lnTo>
                        <a:pt x="1657826" y="152400"/>
                      </a:lnTo>
                      <a:cubicBezTo>
                        <a:pt x="1660017" y="163259"/>
                        <a:pt x="1669637" y="171450"/>
                        <a:pt x="1681163" y="171450"/>
                      </a:cubicBezTo>
                      <a:cubicBezTo>
                        <a:pt x="1694307" y="171450"/>
                        <a:pt x="1704975" y="160782"/>
                        <a:pt x="1704975" y="147638"/>
                      </a:cubicBezTo>
                      <a:cubicBezTo>
                        <a:pt x="1704975" y="134493"/>
                        <a:pt x="1694307" y="123825"/>
                        <a:pt x="1681163" y="123825"/>
                      </a:cubicBezTo>
                      <a:close/>
                    </a:path>
                  </a:pathLst>
                </a:custGeom>
                <a:gradFill flip="none" rotWithShape="1">
                  <a:gsLst>
                    <a:gs pos="0">
                      <a:schemeClr val="accent3"/>
                    </a:gs>
                    <a:gs pos="90000">
                      <a:schemeClr val="accent3">
                        <a:lumMod val="60000"/>
                        <a:lumOff val="40000"/>
                      </a:schemeClr>
                    </a:gs>
                  </a:gsLst>
                  <a:lin ang="10800000" scaled="1"/>
                  <a:tileRect/>
                </a:gradFill>
                <a:ln w="9525" cap="flat">
                  <a:noFill/>
                  <a:prstDash val="solid"/>
                  <a:miter/>
                </a:ln>
              </p:spPr>
              <p:txBody>
                <a:bodyPr rtlCol="0" anchor="ctr"/>
                <a:lstStyle/>
                <a:p>
                  <a:endParaRPr lang="zh-CN" altLang="en-US"/>
                </a:p>
              </p:txBody>
            </p:sp>
            <p:grpSp>
              <p:nvGrpSpPr>
                <p:cNvPr id="75" name="组合 74"/>
                <p:cNvGrpSpPr/>
                <p:nvPr/>
              </p:nvGrpSpPr>
              <p:grpSpPr>
                <a:xfrm>
                  <a:off x="2755083" y="5324094"/>
                  <a:ext cx="1355971" cy="114359"/>
                  <a:chOff x="2755083" y="5324094"/>
                  <a:chExt cx="1355971" cy="114359"/>
                </a:xfrm>
                <a:gradFill flip="none" rotWithShape="1">
                  <a:gsLst>
                    <a:gs pos="0">
                      <a:schemeClr val="accent3"/>
                    </a:gs>
                    <a:gs pos="100000">
                      <a:schemeClr val="accent3">
                        <a:alpha val="0"/>
                      </a:schemeClr>
                    </a:gs>
                  </a:gsLst>
                  <a:lin ang="0" scaled="1"/>
                  <a:tileRect/>
                </a:gradFill>
              </p:grpSpPr>
              <p:sp>
                <p:nvSpPr>
                  <p:cNvPr id="78" name="任意多边形: 形状 77"/>
                  <p:cNvSpPr/>
                  <p:nvPr/>
                </p:nvSpPr>
                <p:spPr>
                  <a:xfrm>
                    <a:off x="3898673" y="5324094"/>
                    <a:ext cx="212381" cy="114359"/>
                  </a:xfrm>
                  <a:custGeom>
                    <a:avLst/>
                    <a:gdLst>
                      <a:gd name="connsiteX0" fmla="*/ 57150 w 123825"/>
                      <a:gd name="connsiteY0" fmla="*/ 0 h 66675"/>
                      <a:gd name="connsiteX1" fmla="*/ 0 w 123825"/>
                      <a:gd name="connsiteY1" fmla="*/ 0 h 66675"/>
                      <a:gd name="connsiteX2" fmla="*/ 66675 w 123825"/>
                      <a:gd name="connsiteY2" fmla="*/ 66675 h 66675"/>
                      <a:gd name="connsiteX3" fmla="*/ 123825 w 123825"/>
                      <a:gd name="connsiteY3" fmla="*/ 66675 h 66675"/>
                    </a:gdLst>
                    <a:ahLst/>
                    <a:cxnLst>
                      <a:cxn ang="0">
                        <a:pos x="connsiteX0" y="connsiteY0"/>
                      </a:cxn>
                      <a:cxn ang="0">
                        <a:pos x="connsiteX1" y="connsiteY1"/>
                      </a:cxn>
                      <a:cxn ang="0">
                        <a:pos x="connsiteX2" y="connsiteY2"/>
                      </a:cxn>
                      <a:cxn ang="0">
                        <a:pos x="connsiteX3" y="connsiteY3"/>
                      </a:cxn>
                    </a:cxnLst>
                    <a:rect l="l" t="t" r="r" b="b"/>
                    <a:pathLst>
                      <a:path w="123825" h="66675">
                        <a:moveTo>
                          <a:pt x="57150" y="0"/>
                        </a:moveTo>
                        <a:lnTo>
                          <a:pt x="0" y="0"/>
                        </a:lnTo>
                        <a:lnTo>
                          <a:pt x="66675" y="66675"/>
                        </a:lnTo>
                        <a:lnTo>
                          <a:pt x="123825" y="66675"/>
                        </a:lnTo>
                        <a:close/>
                      </a:path>
                    </a:pathLst>
                  </a:custGeom>
                  <a:grpFill/>
                  <a:ln w="9525" cap="flat">
                    <a:noFill/>
                    <a:prstDash val="solid"/>
                    <a:miter/>
                  </a:ln>
                </p:spPr>
                <p:txBody>
                  <a:bodyPr rtlCol="0" anchor="ctr"/>
                  <a:lstStyle/>
                  <a:p>
                    <a:endParaRPr lang="zh-CN" altLang="en-US"/>
                  </a:p>
                </p:txBody>
              </p:sp>
              <p:sp>
                <p:nvSpPr>
                  <p:cNvPr id="79" name="任意多边形: 形状 78"/>
                  <p:cNvSpPr/>
                  <p:nvPr/>
                </p:nvSpPr>
                <p:spPr>
                  <a:xfrm>
                    <a:off x="3735303" y="5324094"/>
                    <a:ext cx="212381" cy="114359"/>
                  </a:xfrm>
                  <a:custGeom>
                    <a:avLst/>
                    <a:gdLst>
                      <a:gd name="connsiteX0" fmla="*/ 0 w 123825"/>
                      <a:gd name="connsiteY0" fmla="*/ 0 h 66675"/>
                      <a:gd name="connsiteX1" fmla="*/ 66675 w 123825"/>
                      <a:gd name="connsiteY1" fmla="*/ 66675 h 66675"/>
                      <a:gd name="connsiteX2" fmla="*/ 123825 w 123825"/>
                      <a:gd name="connsiteY2" fmla="*/ 66675 h 66675"/>
                      <a:gd name="connsiteX3" fmla="*/ 57150 w 123825"/>
                      <a:gd name="connsiteY3" fmla="*/ 0 h 66675"/>
                    </a:gdLst>
                    <a:ahLst/>
                    <a:cxnLst>
                      <a:cxn ang="0">
                        <a:pos x="connsiteX0" y="connsiteY0"/>
                      </a:cxn>
                      <a:cxn ang="0">
                        <a:pos x="connsiteX1" y="connsiteY1"/>
                      </a:cxn>
                      <a:cxn ang="0">
                        <a:pos x="connsiteX2" y="connsiteY2"/>
                      </a:cxn>
                      <a:cxn ang="0">
                        <a:pos x="connsiteX3" y="connsiteY3"/>
                      </a:cxn>
                    </a:cxnLst>
                    <a:rect l="l" t="t" r="r" b="b"/>
                    <a:pathLst>
                      <a:path w="123825" h="66675">
                        <a:moveTo>
                          <a:pt x="0" y="0"/>
                        </a:moveTo>
                        <a:lnTo>
                          <a:pt x="66675" y="66675"/>
                        </a:lnTo>
                        <a:lnTo>
                          <a:pt x="123825" y="66675"/>
                        </a:lnTo>
                        <a:lnTo>
                          <a:pt x="57150" y="0"/>
                        </a:lnTo>
                        <a:close/>
                      </a:path>
                    </a:pathLst>
                  </a:custGeom>
                  <a:grpFill/>
                  <a:ln w="9525" cap="flat">
                    <a:noFill/>
                    <a:prstDash val="solid"/>
                    <a:miter/>
                  </a:ln>
                </p:spPr>
                <p:txBody>
                  <a:bodyPr rtlCol="0" anchor="ctr"/>
                  <a:lstStyle/>
                  <a:p>
                    <a:endParaRPr lang="zh-CN" altLang="en-US"/>
                  </a:p>
                </p:txBody>
              </p:sp>
              <p:sp>
                <p:nvSpPr>
                  <p:cNvPr id="80" name="任意多边形: 形状 79"/>
                  <p:cNvSpPr/>
                  <p:nvPr/>
                </p:nvSpPr>
                <p:spPr>
                  <a:xfrm>
                    <a:off x="3571933" y="5324094"/>
                    <a:ext cx="212381" cy="114359"/>
                  </a:xfrm>
                  <a:custGeom>
                    <a:avLst/>
                    <a:gdLst>
                      <a:gd name="connsiteX0" fmla="*/ 0 w 123825"/>
                      <a:gd name="connsiteY0" fmla="*/ 0 h 66675"/>
                      <a:gd name="connsiteX1" fmla="*/ 66675 w 123825"/>
                      <a:gd name="connsiteY1" fmla="*/ 66675 h 66675"/>
                      <a:gd name="connsiteX2" fmla="*/ 123825 w 123825"/>
                      <a:gd name="connsiteY2" fmla="*/ 66675 h 66675"/>
                      <a:gd name="connsiteX3" fmla="*/ 57150 w 123825"/>
                      <a:gd name="connsiteY3" fmla="*/ 0 h 66675"/>
                    </a:gdLst>
                    <a:ahLst/>
                    <a:cxnLst>
                      <a:cxn ang="0">
                        <a:pos x="connsiteX0" y="connsiteY0"/>
                      </a:cxn>
                      <a:cxn ang="0">
                        <a:pos x="connsiteX1" y="connsiteY1"/>
                      </a:cxn>
                      <a:cxn ang="0">
                        <a:pos x="connsiteX2" y="connsiteY2"/>
                      </a:cxn>
                      <a:cxn ang="0">
                        <a:pos x="connsiteX3" y="connsiteY3"/>
                      </a:cxn>
                    </a:cxnLst>
                    <a:rect l="l" t="t" r="r" b="b"/>
                    <a:pathLst>
                      <a:path w="123825" h="66675">
                        <a:moveTo>
                          <a:pt x="0" y="0"/>
                        </a:moveTo>
                        <a:lnTo>
                          <a:pt x="66675" y="66675"/>
                        </a:lnTo>
                        <a:lnTo>
                          <a:pt x="123825" y="66675"/>
                        </a:lnTo>
                        <a:lnTo>
                          <a:pt x="57150" y="0"/>
                        </a:lnTo>
                        <a:close/>
                      </a:path>
                    </a:pathLst>
                  </a:custGeom>
                  <a:grpFill/>
                  <a:ln w="9525" cap="flat">
                    <a:noFill/>
                    <a:prstDash val="solid"/>
                    <a:miter/>
                  </a:ln>
                </p:spPr>
                <p:txBody>
                  <a:bodyPr rtlCol="0" anchor="ctr"/>
                  <a:lstStyle/>
                  <a:p>
                    <a:endParaRPr lang="zh-CN" altLang="en-US"/>
                  </a:p>
                </p:txBody>
              </p:sp>
              <p:sp>
                <p:nvSpPr>
                  <p:cNvPr id="81" name="任意多边形: 形状 80"/>
                  <p:cNvSpPr/>
                  <p:nvPr/>
                </p:nvSpPr>
                <p:spPr>
                  <a:xfrm>
                    <a:off x="3408563" y="5324094"/>
                    <a:ext cx="212381" cy="114359"/>
                  </a:xfrm>
                  <a:custGeom>
                    <a:avLst/>
                    <a:gdLst>
                      <a:gd name="connsiteX0" fmla="*/ 0 w 123825"/>
                      <a:gd name="connsiteY0" fmla="*/ 0 h 66675"/>
                      <a:gd name="connsiteX1" fmla="*/ 66675 w 123825"/>
                      <a:gd name="connsiteY1" fmla="*/ 66675 h 66675"/>
                      <a:gd name="connsiteX2" fmla="*/ 123825 w 123825"/>
                      <a:gd name="connsiteY2" fmla="*/ 66675 h 66675"/>
                      <a:gd name="connsiteX3" fmla="*/ 57150 w 123825"/>
                      <a:gd name="connsiteY3" fmla="*/ 0 h 66675"/>
                    </a:gdLst>
                    <a:ahLst/>
                    <a:cxnLst>
                      <a:cxn ang="0">
                        <a:pos x="connsiteX0" y="connsiteY0"/>
                      </a:cxn>
                      <a:cxn ang="0">
                        <a:pos x="connsiteX1" y="connsiteY1"/>
                      </a:cxn>
                      <a:cxn ang="0">
                        <a:pos x="connsiteX2" y="connsiteY2"/>
                      </a:cxn>
                      <a:cxn ang="0">
                        <a:pos x="connsiteX3" y="connsiteY3"/>
                      </a:cxn>
                    </a:cxnLst>
                    <a:rect l="l" t="t" r="r" b="b"/>
                    <a:pathLst>
                      <a:path w="123825" h="66675">
                        <a:moveTo>
                          <a:pt x="0" y="0"/>
                        </a:moveTo>
                        <a:lnTo>
                          <a:pt x="66675" y="66675"/>
                        </a:lnTo>
                        <a:lnTo>
                          <a:pt x="123825" y="66675"/>
                        </a:lnTo>
                        <a:lnTo>
                          <a:pt x="57150" y="0"/>
                        </a:lnTo>
                        <a:close/>
                      </a:path>
                    </a:pathLst>
                  </a:custGeom>
                  <a:grpFill/>
                  <a:ln w="9525" cap="flat">
                    <a:noFill/>
                    <a:prstDash val="solid"/>
                    <a:miter/>
                  </a:ln>
                </p:spPr>
                <p:txBody>
                  <a:bodyPr rtlCol="0" anchor="ctr"/>
                  <a:lstStyle/>
                  <a:p>
                    <a:endParaRPr lang="zh-CN" altLang="en-US"/>
                  </a:p>
                </p:txBody>
              </p:sp>
              <p:sp>
                <p:nvSpPr>
                  <p:cNvPr id="82" name="任意多边形: 形状 81"/>
                  <p:cNvSpPr/>
                  <p:nvPr/>
                </p:nvSpPr>
                <p:spPr>
                  <a:xfrm>
                    <a:off x="3245193" y="5324094"/>
                    <a:ext cx="212381" cy="114359"/>
                  </a:xfrm>
                  <a:custGeom>
                    <a:avLst/>
                    <a:gdLst>
                      <a:gd name="connsiteX0" fmla="*/ 0 w 123825"/>
                      <a:gd name="connsiteY0" fmla="*/ 0 h 66675"/>
                      <a:gd name="connsiteX1" fmla="*/ 66675 w 123825"/>
                      <a:gd name="connsiteY1" fmla="*/ 66675 h 66675"/>
                      <a:gd name="connsiteX2" fmla="*/ 123825 w 123825"/>
                      <a:gd name="connsiteY2" fmla="*/ 66675 h 66675"/>
                      <a:gd name="connsiteX3" fmla="*/ 57150 w 123825"/>
                      <a:gd name="connsiteY3" fmla="*/ 0 h 66675"/>
                    </a:gdLst>
                    <a:ahLst/>
                    <a:cxnLst>
                      <a:cxn ang="0">
                        <a:pos x="connsiteX0" y="connsiteY0"/>
                      </a:cxn>
                      <a:cxn ang="0">
                        <a:pos x="connsiteX1" y="connsiteY1"/>
                      </a:cxn>
                      <a:cxn ang="0">
                        <a:pos x="connsiteX2" y="connsiteY2"/>
                      </a:cxn>
                      <a:cxn ang="0">
                        <a:pos x="connsiteX3" y="connsiteY3"/>
                      </a:cxn>
                    </a:cxnLst>
                    <a:rect l="l" t="t" r="r" b="b"/>
                    <a:pathLst>
                      <a:path w="123825" h="66675">
                        <a:moveTo>
                          <a:pt x="0" y="0"/>
                        </a:moveTo>
                        <a:lnTo>
                          <a:pt x="66675" y="66675"/>
                        </a:lnTo>
                        <a:lnTo>
                          <a:pt x="123825" y="66675"/>
                        </a:lnTo>
                        <a:lnTo>
                          <a:pt x="57150" y="0"/>
                        </a:lnTo>
                        <a:close/>
                      </a:path>
                    </a:pathLst>
                  </a:custGeom>
                  <a:grpFill/>
                  <a:ln w="9525" cap="flat">
                    <a:noFill/>
                    <a:prstDash val="solid"/>
                    <a:miter/>
                  </a:ln>
                </p:spPr>
                <p:txBody>
                  <a:bodyPr rtlCol="0" anchor="ctr"/>
                  <a:lstStyle/>
                  <a:p>
                    <a:endParaRPr lang="zh-CN" altLang="en-US"/>
                  </a:p>
                </p:txBody>
              </p:sp>
              <p:sp>
                <p:nvSpPr>
                  <p:cNvPr id="83" name="任意多边形: 形状 82"/>
                  <p:cNvSpPr/>
                  <p:nvPr/>
                </p:nvSpPr>
                <p:spPr>
                  <a:xfrm>
                    <a:off x="3081823" y="5324094"/>
                    <a:ext cx="212381" cy="114359"/>
                  </a:xfrm>
                  <a:custGeom>
                    <a:avLst/>
                    <a:gdLst>
                      <a:gd name="connsiteX0" fmla="*/ 0 w 123825"/>
                      <a:gd name="connsiteY0" fmla="*/ 0 h 66675"/>
                      <a:gd name="connsiteX1" fmla="*/ 66675 w 123825"/>
                      <a:gd name="connsiteY1" fmla="*/ 66675 h 66675"/>
                      <a:gd name="connsiteX2" fmla="*/ 123825 w 123825"/>
                      <a:gd name="connsiteY2" fmla="*/ 66675 h 66675"/>
                      <a:gd name="connsiteX3" fmla="*/ 57150 w 123825"/>
                      <a:gd name="connsiteY3" fmla="*/ 0 h 66675"/>
                    </a:gdLst>
                    <a:ahLst/>
                    <a:cxnLst>
                      <a:cxn ang="0">
                        <a:pos x="connsiteX0" y="connsiteY0"/>
                      </a:cxn>
                      <a:cxn ang="0">
                        <a:pos x="connsiteX1" y="connsiteY1"/>
                      </a:cxn>
                      <a:cxn ang="0">
                        <a:pos x="connsiteX2" y="connsiteY2"/>
                      </a:cxn>
                      <a:cxn ang="0">
                        <a:pos x="connsiteX3" y="connsiteY3"/>
                      </a:cxn>
                    </a:cxnLst>
                    <a:rect l="l" t="t" r="r" b="b"/>
                    <a:pathLst>
                      <a:path w="123825" h="66675">
                        <a:moveTo>
                          <a:pt x="0" y="0"/>
                        </a:moveTo>
                        <a:lnTo>
                          <a:pt x="66675" y="66675"/>
                        </a:lnTo>
                        <a:lnTo>
                          <a:pt x="123825" y="66675"/>
                        </a:lnTo>
                        <a:lnTo>
                          <a:pt x="57150" y="0"/>
                        </a:lnTo>
                        <a:close/>
                      </a:path>
                    </a:pathLst>
                  </a:custGeom>
                  <a:grpFill/>
                  <a:ln w="9525" cap="flat">
                    <a:noFill/>
                    <a:prstDash val="solid"/>
                    <a:miter/>
                  </a:ln>
                </p:spPr>
                <p:txBody>
                  <a:bodyPr rtlCol="0" anchor="ctr"/>
                  <a:lstStyle/>
                  <a:p>
                    <a:endParaRPr lang="zh-CN" altLang="en-US"/>
                  </a:p>
                </p:txBody>
              </p:sp>
              <p:sp>
                <p:nvSpPr>
                  <p:cNvPr id="84" name="任意多边形: 形状 83"/>
                  <p:cNvSpPr/>
                  <p:nvPr/>
                </p:nvSpPr>
                <p:spPr>
                  <a:xfrm>
                    <a:off x="2918453" y="5324094"/>
                    <a:ext cx="212381" cy="114359"/>
                  </a:xfrm>
                  <a:custGeom>
                    <a:avLst/>
                    <a:gdLst>
                      <a:gd name="connsiteX0" fmla="*/ 0 w 123825"/>
                      <a:gd name="connsiteY0" fmla="*/ 0 h 66675"/>
                      <a:gd name="connsiteX1" fmla="*/ 66675 w 123825"/>
                      <a:gd name="connsiteY1" fmla="*/ 66675 h 66675"/>
                      <a:gd name="connsiteX2" fmla="*/ 123825 w 123825"/>
                      <a:gd name="connsiteY2" fmla="*/ 66675 h 66675"/>
                      <a:gd name="connsiteX3" fmla="*/ 57150 w 123825"/>
                      <a:gd name="connsiteY3" fmla="*/ 0 h 66675"/>
                    </a:gdLst>
                    <a:ahLst/>
                    <a:cxnLst>
                      <a:cxn ang="0">
                        <a:pos x="connsiteX0" y="connsiteY0"/>
                      </a:cxn>
                      <a:cxn ang="0">
                        <a:pos x="connsiteX1" y="connsiteY1"/>
                      </a:cxn>
                      <a:cxn ang="0">
                        <a:pos x="connsiteX2" y="connsiteY2"/>
                      </a:cxn>
                      <a:cxn ang="0">
                        <a:pos x="connsiteX3" y="connsiteY3"/>
                      </a:cxn>
                    </a:cxnLst>
                    <a:rect l="l" t="t" r="r" b="b"/>
                    <a:pathLst>
                      <a:path w="123825" h="66675">
                        <a:moveTo>
                          <a:pt x="0" y="0"/>
                        </a:moveTo>
                        <a:lnTo>
                          <a:pt x="66675" y="66675"/>
                        </a:lnTo>
                        <a:lnTo>
                          <a:pt x="123825" y="66675"/>
                        </a:lnTo>
                        <a:lnTo>
                          <a:pt x="57150" y="0"/>
                        </a:lnTo>
                        <a:close/>
                      </a:path>
                    </a:pathLst>
                  </a:custGeom>
                  <a:grpFill/>
                  <a:ln w="9525" cap="flat">
                    <a:noFill/>
                    <a:prstDash val="solid"/>
                    <a:miter/>
                  </a:ln>
                </p:spPr>
                <p:txBody>
                  <a:bodyPr rtlCol="0" anchor="ctr"/>
                  <a:lstStyle/>
                  <a:p>
                    <a:endParaRPr lang="zh-CN" altLang="en-US"/>
                  </a:p>
                </p:txBody>
              </p:sp>
              <p:sp>
                <p:nvSpPr>
                  <p:cNvPr id="85" name="任意多边形: 形状 84"/>
                  <p:cNvSpPr/>
                  <p:nvPr/>
                </p:nvSpPr>
                <p:spPr>
                  <a:xfrm>
                    <a:off x="2755083" y="5324094"/>
                    <a:ext cx="212381" cy="114359"/>
                  </a:xfrm>
                  <a:custGeom>
                    <a:avLst/>
                    <a:gdLst>
                      <a:gd name="connsiteX0" fmla="*/ 0 w 123825"/>
                      <a:gd name="connsiteY0" fmla="*/ 0 h 66675"/>
                      <a:gd name="connsiteX1" fmla="*/ 66675 w 123825"/>
                      <a:gd name="connsiteY1" fmla="*/ 66675 h 66675"/>
                      <a:gd name="connsiteX2" fmla="*/ 123825 w 123825"/>
                      <a:gd name="connsiteY2" fmla="*/ 66675 h 66675"/>
                      <a:gd name="connsiteX3" fmla="*/ 57150 w 123825"/>
                      <a:gd name="connsiteY3" fmla="*/ 0 h 66675"/>
                    </a:gdLst>
                    <a:ahLst/>
                    <a:cxnLst>
                      <a:cxn ang="0">
                        <a:pos x="connsiteX0" y="connsiteY0"/>
                      </a:cxn>
                      <a:cxn ang="0">
                        <a:pos x="connsiteX1" y="connsiteY1"/>
                      </a:cxn>
                      <a:cxn ang="0">
                        <a:pos x="connsiteX2" y="connsiteY2"/>
                      </a:cxn>
                      <a:cxn ang="0">
                        <a:pos x="connsiteX3" y="connsiteY3"/>
                      </a:cxn>
                    </a:cxnLst>
                    <a:rect l="l" t="t" r="r" b="b"/>
                    <a:pathLst>
                      <a:path w="123825" h="66675">
                        <a:moveTo>
                          <a:pt x="0" y="0"/>
                        </a:moveTo>
                        <a:lnTo>
                          <a:pt x="66675" y="66675"/>
                        </a:lnTo>
                        <a:lnTo>
                          <a:pt x="123825" y="66675"/>
                        </a:lnTo>
                        <a:lnTo>
                          <a:pt x="57150" y="0"/>
                        </a:lnTo>
                        <a:close/>
                      </a:path>
                    </a:pathLst>
                  </a:custGeom>
                  <a:grpFill/>
                  <a:ln w="9525" cap="flat">
                    <a:noFill/>
                    <a:prstDash val="solid"/>
                    <a:miter/>
                  </a:ln>
                </p:spPr>
                <p:txBody>
                  <a:bodyPr rtlCol="0" anchor="ctr"/>
                  <a:lstStyle/>
                  <a:p>
                    <a:endParaRPr lang="zh-CN" altLang="en-US"/>
                  </a:p>
                </p:txBody>
              </p:sp>
            </p:grpSp>
            <p:sp>
              <p:nvSpPr>
                <p:cNvPr id="76" name="任意多边形: 形状 75"/>
                <p:cNvSpPr/>
                <p:nvPr/>
              </p:nvSpPr>
              <p:spPr>
                <a:xfrm>
                  <a:off x="2199625" y="5324094"/>
                  <a:ext cx="604469" cy="114359"/>
                </a:xfrm>
                <a:custGeom>
                  <a:avLst/>
                  <a:gdLst>
                    <a:gd name="connsiteX0" fmla="*/ 352425 w 352425"/>
                    <a:gd name="connsiteY0" fmla="*/ 66675 h 66675"/>
                    <a:gd name="connsiteX1" fmla="*/ 66675 w 352425"/>
                    <a:gd name="connsiteY1" fmla="*/ 66675 h 66675"/>
                    <a:gd name="connsiteX2" fmla="*/ 0 w 352425"/>
                    <a:gd name="connsiteY2" fmla="*/ 0 h 66675"/>
                    <a:gd name="connsiteX3" fmla="*/ 285750 w 352425"/>
                    <a:gd name="connsiteY3" fmla="*/ 0 h 66675"/>
                  </a:gdLst>
                  <a:ahLst/>
                  <a:cxnLst>
                    <a:cxn ang="0">
                      <a:pos x="connsiteX0" y="connsiteY0"/>
                    </a:cxn>
                    <a:cxn ang="0">
                      <a:pos x="connsiteX1" y="connsiteY1"/>
                    </a:cxn>
                    <a:cxn ang="0">
                      <a:pos x="connsiteX2" y="connsiteY2"/>
                    </a:cxn>
                    <a:cxn ang="0">
                      <a:pos x="connsiteX3" y="connsiteY3"/>
                    </a:cxn>
                  </a:cxnLst>
                  <a:rect l="l" t="t" r="r" b="b"/>
                  <a:pathLst>
                    <a:path w="352425" h="66675">
                      <a:moveTo>
                        <a:pt x="352425" y="66675"/>
                      </a:moveTo>
                      <a:lnTo>
                        <a:pt x="66675" y="66675"/>
                      </a:lnTo>
                      <a:lnTo>
                        <a:pt x="0" y="0"/>
                      </a:lnTo>
                      <a:lnTo>
                        <a:pt x="285750" y="0"/>
                      </a:lnTo>
                      <a:close/>
                    </a:path>
                  </a:pathLst>
                </a:custGeom>
                <a:solidFill>
                  <a:schemeClr val="accent3">
                    <a:alpha val="50000"/>
                  </a:schemeClr>
                </a:solidFill>
                <a:ln w="9525" cap="flat">
                  <a:noFill/>
                  <a:prstDash val="solid"/>
                  <a:miter/>
                </a:ln>
              </p:spPr>
              <p:txBody>
                <a:bodyPr rtlCol="0" anchor="ctr"/>
                <a:lstStyle/>
                <a:p>
                  <a:endParaRPr lang="zh-CN" altLang="en-US"/>
                </a:p>
              </p:txBody>
            </p:sp>
            <p:sp>
              <p:nvSpPr>
                <p:cNvPr id="77" name="任意多边形: 形状 76"/>
                <p:cNvSpPr/>
                <p:nvPr/>
              </p:nvSpPr>
              <p:spPr>
                <a:xfrm>
                  <a:off x="1644167" y="5324094"/>
                  <a:ext cx="604469" cy="114359"/>
                </a:xfrm>
                <a:custGeom>
                  <a:avLst/>
                  <a:gdLst>
                    <a:gd name="connsiteX0" fmla="*/ 285750 w 352425"/>
                    <a:gd name="connsiteY0" fmla="*/ 0 h 66675"/>
                    <a:gd name="connsiteX1" fmla="*/ 0 w 352425"/>
                    <a:gd name="connsiteY1" fmla="*/ 0 h 66675"/>
                    <a:gd name="connsiteX2" fmla="*/ 66675 w 352425"/>
                    <a:gd name="connsiteY2" fmla="*/ 66675 h 66675"/>
                    <a:gd name="connsiteX3" fmla="*/ 352425 w 352425"/>
                    <a:gd name="connsiteY3" fmla="*/ 66675 h 66675"/>
                    <a:gd name="connsiteX4" fmla="*/ 285750 w 352425"/>
                    <a:gd name="connsiteY4" fmla="*/ 0 h 66675"/>
                    <a:gd name="connsiteX5" fmla="*/ 28575 w 352425"/>
                    <a:gd name="connsiteY5" fmla="*/ 9525 h 66675"/>
                    <a:gd name="connsiteX6" fmla="*/ 276225 w 352425"/>
                    <a:gd name="connsiteY6" fmla="*/ 9525 h 66675"/>
                    <a:gd name="connsiteX7" fmla="*/ 323850 w 352425"/>
                    <a:gd name="connsiteY7" fmla="*/ 57150 h 66675"/>
                    <a:gd name="connsiteX8" fmla="*/ 76200 w 352425"/>
                    <a:gd name="connsiteY8" fmla="*/ 57150 h 66675"/>
                    <a:gd name="connsiteX9" fmla="*/ 28575 w 352425"/>
                    <a:gd name="connsiteY9" fmla="*/ 9525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2425" h="66675">
                      <a:moveTo>
                        <a:pt x="285750" y="0"/>
                      </a:moveTo>
                      <a:lnTo>
                        <a:pt x="0" y="0"/>
                      </a:lnTo>
                      <a:lnTo>
                        <a:pt x="66675" y="66675"/>
                      </a:lnTo>
                      <a:lnTo>
                        <a:pt x="352425" y="66675"/>
                      </a:lnTo>
                      <a:lnTo>
                        <a:pt x="285750" y="0"/>
                      </a:lnTo>
                      <a:close/>
                      <a:moveTo>
                        <a:pt x="28575" y="9525"/>
                      </a:moveTo>
                      <a:lnTo>
                        <a:pt x="276225" y="9525"/>
                      </a:lnTo>
                      <a:lnTo>
                        <a:pt x="323850" y="57150"/>
                      </a:lnTo>
                      <a:lnTo>
                        <a:pt x="76200" y="57150"/>
                      </a:lnTo>
                      <a:lnTo>
                        <a:pt x="28575" y="9525"/>
                      </a:lnTo>
                      <a:close/>
                    </a:path>
                  </a:pathLst>
                </a:custGeom>
                <a:solidFill>
                  <a:schemeClr val="accent3"/>
                </a:solidFill>
                <a:ln w="9525" cap="flat">
                  <a:noFill/>
                  <a:prstDash val="solid"/>
                  <a:miter/>
                </a:ln>
              </p:spPr>
              <p:txBody>
                <a:bodyPr rtlCol="0" anchor="ctr"/>
                <a:lstStyle/>
                <a:p>
                  <a:endParaRPr lang="zh-CN" altLang="en-US"/>
                </a:p>
              </p:txBody>
            </p:sp>
          </p:grpSp>
          <p:grpSp>
            <p:nvGrpSpPr>
              <p:cNvPr id="31" name="组合 30"/>
              <p:cNvGrpSpPr/>
              <p:nvPr/>
            </p:nvGrpSpPr>
            <p:grpSpPr>
              <a:xfrm>
                <a:off x="9110178" y="4981017"/>
                <a:ext cx="1829744" cy="496643"/>
                <a:chOff x="7853362" y="4333875"/>
                <a:chExt cx="1066800" cy="289559"/>
              </a:xfrm>
              <a:gradFill flip="none" rotWithShape="1">
                <a:gsLst>
                  <a:gs pos="0">
                    <a:schemeClr val="accent3"/>
                  </a:gs>
                  <a:gs pos="80000">
                    <a:schemeClr val="accent3">
                      <a:lumMod val="60000"/>
                      <a:lumOff val="40000"/>
                    </a:schemeClr>
                  </a:gs>
                </a:gsLst>
                <a:lin ang="16200000" scaled="1"/>
                <a:tileRect/>
              </a:gradFill>
            </p:grpSpPr>
            <p:sp>
              <p:nvSpPr>
                <p:cNvPr id="72" name="任意多边形: 形状 71"/>
                <p:cNvSpPr/>
                <p:nvPr/>
              </p:nvSpPr>
              <p:spPr>
                <a:xfrm>
                  <a:off x="8620219" y="4333875"/>
                  <a:ext cx="299942" cy="289559"/>
                </a:xfrm>
                <a:custGeom>
                  <a:avLst/>
                  <a:gdLst>
                    <a:gd name="connsiteX0" fmla="*/ 0 w 299942"/>
                    <a:gd name="connsiteY0" fmla="*/ 289560 h 289559"/>
                    <a:gd name="connsiteX1" fmla="*/ 70771 w 299942"/>
                    <a:gd name="connsiteY1" fmla="*/ 289560 h 289559"/>
                    <a:gd name="connsiteX2" fmla="*/ 299942 w 299942"/>
                    <a:gd name="connsiteY2" fmla="*/ 70771 h 289559"/>
                    <a:gd name="connsiteX3" fmla="*/ 299942 w 299942"/>
                    <a:gd name="connsiteY3" fmla="*/ 0 h 289559"/>
                  </a:gdLst>
                  <a:ahLst/>
                  <a:cxnLst>
                    <a:cxn ang="0">
                      <a:pos x="connsiteX0" y="connsiteY0"/>
                    </a:cxn>
                    <a:cxn ang="0">
                      <a:pos x="connsiteX1" y="connsiteY1"/>
                    </a:cxn>
                    <a:cxn ang="0">
                      <a:pos x="connsiteX2" y="connsiteY2"/>
                    </a:cxn>
                    <a:cxn ang="0">
                      <a:pos x="connsiteX3" y="connsiteY3"/>
                    </a:cxn>
                  </a:cxnLst>
                  <a:rect l="l" t="t" r="r" b="b"/>
                  <a:pathLst>
                    <a:path w="299942" h="289559">
                      <a:moveTo>
                        <a:pt x="0" y="289560"/>
                      </a:moveTo>
                      <a:lnTo>
                        <a:pt x="70771" y="289560"/>
                      </a:lnTo>
                      <a:lnTo>
                        <a:pt x="299942" y="70771"/>
                      </a:lnTo>
                      <a:lnTo>
                        <a:pt x="299942" y="0"/>
                      </a:lnTo>
                      <a:close/>
                    </a:path>
                  </a:pathLst>
                </a:custGeom>
                <a:grpFill/>
                <a:ln w="9525" cap="flat">
                  <a:noFill/>
                  <a:prstDash val="solid"/>
                  <a:miter/>
                </a:ln>
              </p:spPr>
              <p:txBody>
                <a:bodyPr rtlCol="0" anchor="ctr"/>
                <a:lstStyle/>
                <a:p>
                  <a:endParaRPr lang="zh-CN" altLang="en-US"/>
                </a:p>
              </p:txBody>
            </p:sp>
            <p:sp>
              <p:nvSpPr>
                <p:cNvPr id="73" name="任意多边形: 形状 72"/>
                <p:cNvSpPr/>
                <p:nvPr/>
              </p:nvSpPr>
              <p:spPr>
                <a:xfrm>
                  <a:off x="7853362" y="4483608"/>
                  <a:ext cx="849630" cy="139826"/>
                </a:xfrm>
                <a:custGeom>
                  <a:avLst/>
                  <a:gdLst>
                    <a:gd name="connsiteX0" fmla="*/ 849630 w 849630"/>
                    <a:gd name="connsiteY0" fmla="*/ 0 h 139826"/>
                    <a:gd name="connsiteX1" fmla="*/ 714756 w 849630"/>
                    <a:gd name="connsiteY1" fmla="*/ 130302 h 139826"/>
                    <a:gd name="connsiteX2" fmla="*/ 0 w 849630"/>
                    <a:gd name="connsiteY2" fmla="*/ 130302 h 139826"/>
                    <a:gd name="connsiteX3" fmla="*/ 0 w 849630"/>
                    <a:gd name="connsiteY3" fmla="*/ 139827 h 139826"/>
                    <a:gd name="connsiteX4" fmla="*/ 704850 w 849630"/>
                    <a:gd name="connsiteY4" fmla="*/ 139827 h 139826"/>
                    <a:gd name="connsiteX5" fmla="*/ 723900 w 849630"/>
                    <a:gd name="connsiteY5" fmla="*/ 139827 h 139826"/>
                    <a:gd name="connsiteX6" fmla="*/ 729805 w 849630"/>
                    <a:gd name="connsiteY6" fmla="*/ 139827 h 139826"/>
                    <a:gd name="connsiteX7" fmla="*/ 849630 w 849630"/>
                    <a:gd name="connsiteY7" fmla="*/ 24955 h 139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49630" h="139826">
                      <a:moveTo>
                        <a:pt x="849630" y="0"/>
                      </a:moveTo>
                      <a:lnTo>
                        <a:pt x="714756" y="130302"/>
                      </a:lnTo>
                      <a:lnTo>
                        <a:pt x="0" y="130302"/>
                      </a:lnTo>
                      <a:lnTo>
                        <a:pt x="0" y="139827"/>
                      </a:lnTo>
                      <a:lnTo>
                        <a:pt x="704850" y="139827"/>
                      </a:lnTo>
                      <a:lnTo>
                        <a:pt x="723900" y="139827"/>
                      </a:lnTo>
                      <a:lnTo>
                        <a:pt x="729805" y="139827"/>
                      </a:lnTo>
                      <a:lnTo>
                        <a:pt x="849630" y="24955"/>
                      </a:lnTo>
                      <a:close/>
                    </a:path>
                  </a:pathLst>
                </a:custGeom>
                <a:grpFill/>
                <a:ln w="9525" cap="flat">
                  <a:noFill/>
                  <a:prstDash val="solid"/>
                  <a:miter/>
                </a:ln>
              </p:spPr>
              <p:txBody>
                <a:bodyPr rtlCol="0" anchor="ctr"/>
                <a:lstStyle/>
                <a:p>
                  <a:endParaRPr lang="zh-CN" altLang="en-US"/>
                </a:p>
              </p:txBody>
            </p:sp>
          </p:grpSp>
          <p:sp>
            <p:nvSpPr>
              <p:cNvPr id="32" name="任意多边形: 形状 31"/>
              <p:cNvSpPr/>
              <p:nvPr/>
            </p:nvSpPr>
            <p:spPr>
              <a:xfrm>
                <a:off x="1105046" y="2696613"/>
                <a:ext cx="9981909" cy="2954219"/>
              </a:xfrm>
              <a:custGeom>
                <a:avLst/>
                <a:gdLst>
                  <a:gd name="connsiteX0" fmla="*/ 5772150 w 5819775"/>
                  <a:gd name="connsiteY0" fmla="*/ 866775 h 1722405"/>
                  <a:gd name="connsiteX1" fmla="*/ 5772150 w 5819775"/>
                  <a:gd name="connsiteY1" fmla="*/ 1435132 h 1722405"/>
                  <a:gd name="connsiteX2" fmla="*/ 5544217 w 5819775"/>
                  <a:gd name="connsiteY2" fmla="*/ 1655731 h 1722405"/>
                  <a:gd name="connsiteX3" fmla="*/ 4432649 w 5819775"/>
                  <a:gd name="connsiteY3" fmla="*/ 1655731 h 1722405"/>
                  <a:gd name="connsiteX4" fmla="*/ 4212050 w 5819775"/>
                  <a:gd name="connsiteY4" fmla="*/ 1446181 h 1722405"/>
                  <a:gd name="connsiteX5" fmla="*/ 4133850 w 5819775"/>
                  <a:gd name="connsiteY5" fmla="*/ 1446181 h 1722405"/>
                  <a:gd name="connsiteX6" fmla="*/ 4095750 w 5819775"/>
                  <a:gd name="connsiteY6" fmla="*/ 1446181 h 1722405"/>
                  <a:gd name="connsiteX7" fmla="*/ 2209800 w 5819775"/>
                  <a:gd name="connsiteY7" fmla="*/ 1446181 h 1722405"/>
                  <a:gd name="connsiteX8" fmla="*/ 2143125 w 5819775"/>
                  <a:gd name="connsiteY8" fmla="*/ 1446181 h 1722405"/>
                  <a:gd name="connsiteX9" fmla="*/ 2095500 w 5819775"/>
                  <a:gd name="connsiteY9" fmla="*/ 1446181 h 1722405"/>
                  <a:gd name="connsiteX10" fmla="*/ 1893189 w 5819775"/>
                  <a:gd name="connsiteY10" fmla="*/ 1655731 h 1722405"/>
                  <a:gd name="connsiteX11" fmla="*/ 275558 w 5819775"/>
                  <a:gd name="connsiteY11" fmla="*/ 1655731 h 1722405"/>
                  <a:gd name="connsiteX12" fmla="*/ 47625 w 5819775"/>
                  <a:gd name="connsiteY12" fmla="*/ 1435132 h 1722405"/>
                  <a:gd name="connsiteX13" fmla="*/ 47625 w 5819775"/>
                  <a:gd name="connsiteY13" fmla="*/ 0 h 1722405"/>
                  <a:gd name="connsiteX14" fmla="*/ 0 w 5819775"/>
                  <a:gd name="connsiteY14" fmla="*/ 0 h 1722405"/>
                  <a:gd name="connsiteX15" fmla="*/ 0 w 5819775"/>
                  <a:gd name="connsiteY15" fmla="*/ 1389031 h 1722405"/>
                  <a:gd name="connsiteX16" fmla="*/ 0 w 5819775"/>
                  <a:gd name="connsiteY16" fmla="*/ 1446181 h 1722405"/>
                  <a:gd name="connsiteX17" fmla="*/ 0 w 5819775"/>
                  <a:gd name="connsiteY17" fmla="*/ 1455706 h 1722405"/>
                  <a:gd name="connsiteX18" fmla="*/ 273463 w 5819775"/>
                  <a:gd name="connsiteY18" fmla="*/ 1719739 h 1722405"/>
                  <a:gd name="connsiteX19" fmla="*/ 274511 w 5819775"/>
                  <a:gd name="connsiteY19" fmla="*/ 1722406 h 1722405"/>
                  <a:gd name="connsiteX20" fmla="*/ 1828800 w 5819775"/>
                  <a:gd name="connsiteY20" fmla="*/ 1722406 h 1722405"/>
                  <a:gd name="connsiteX21" fmla="*/ 1914525 w 5819775"/>
                  <a:gd name="connsiteY21" fmla="*/ 1722406 h 1722405"/>
                  <a:gd name="connsiteX22" fmla="*/ 1943100 w 5819775"/>
                  <a:gd name="connsiteY22" fmla="*/ 1722406 h 1722405"/>
                  <a:gd name="connsiteX23" fmla="*/ 2191417 w 5819775"/>
                  <a:gd name="connsiteY23" fmla="*/ 1465231 h 1722405"/>
                  <a:gd name="connsiteX24" fmla="*/ 4115848 w 5819775"/>
                  <a:gd name="connsiteY24" fmla="*/ 1465231 h 1722405"/>
                  <a:gd name="connsiteX25" fmla="*/ 4386548 w 5819775"/>
                  <a:gd name="connsiteY25" fmla="*/ 1722406 h 1722405"/>
                  <a:gd name="connsiteX26" fmla="*/ 4457700 w 5819775"/>
                  <a:gd name="connsiteY26" fmla="*/ 1722406 h 1722405"/>
                  <a:gd name="connsiteX27" fmla="*/ 4502849 w 5819775"/>
                  <a:gd name="connsiteY27" fmla="*/ 1722406 h 1722405"/>
                  <a:gd name="connsiteX28" fmla="*/ 5545265 w 5819775"/>
                  <a:gd name="connsiteY28" fmla="*/ 1722406 h 1722405"/>
                  <a:gd name="connsiteX29" fmla="*/ 5546312 w 5819775"/>
                  <a:gd name="connsiteY29" fmla="*/ 1719739 h 1722405"/>
                  <a:gd name="connsiteX30" fmla="*/ 5819775 w 5819775"/>
                  <a:gd name="connsiteY30" fmla="*/ 1455706 h 1722405"/>
                  <a:gd name="connsiteX31" fmla="*/ 5819775 w 5819775"/>
                  <a:gd name="connsiteY31" fmla="*/ 1446181 h 1722405"/>
                  <a:gd name="connsiteX32" fmla="*/ 5819775 w 5819775"/>
                  <a:gd name="connsiteY32" fmla="*/ 1389031 h 1722405"/>
                  <a:gd name="connsiteX33" fmla="*/ 5819775 w 5819775"/>
                  <a:gd name="connsiteY33" fmla="*/ 866775 h 1722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5819775" h="1722405">
                    <a:moveTo>
                      <a:pt x="5772150" y="866775"/>
                    </a:moveTo>
                    <a:lnTo>
                      <a:pt x="5772150" y="1435132"/>
                    </a:lnTo>
                    <a:lnTo>
                      <a:pt x="5544217" y="1655731"/>
                    </a:lnTo>
                    <a:lnTo>
                      <a:pt x="4432649" y="1655731"/>
                    </a:lnTo>
                    <a:lnTo>
                      <a:pt x="4212050" y="1446181"/>
                    </a:lnTo>
                    <a:lnTo>
                      <a:pt x="4133850" y="1446181"/>
                    </a:lnTo>
                    <a:lnTo>
                      <a:pt x="4095750" y="1446181"/>
                    </a:lnTo>
                    <a:lnTo>
                      <a:pt x="2209800" y="1446181"/>
                    </a:lnTo>
                    <a:lnTo>
                      <a:pt x="2143125" y="1446181"/>
                    </a:lnTo>
                    <a:lnTo>
                      <a:pt x="2095500" y="1446181"/>
                    </a:lnTo>
                    <a:lnTo>
                      <a:pt x="1893189" y="1655731"/>
                    </a:lnTo>
                    <a:lnTo>
                      <a:pt x="275558" y="1655731"/>
                    </a:lnTo>
                    <a:lnTo>
                      <a:pt x="47625" y="1435132"/>
                    </a:lnTo>
                    <a:lnTo>
                      <a:pt x="47625" y="0"/>
                    </a:lnTo>
                    <a:lnTo>
                      <a:pt x="0" y="0"/>
                    </a:lnTo>
                    <a:lnTo>
                      <a:pt x="0" y="1389031"/>
                    </a:lnTo>
                    <a:lnTo>
                      <a:pt x="0" y="1446181"/>
                    </a:lnTo>
                    <a:lnTo>
                      <a:pt x="0" y="1455706"/>
                    </a:lnTo>
                    <a:lnTo>
                      <a:pt x="273463" y="1719739"/>
                    </a:lnTo>
                    <a:lnTo>
                      <a:pt x="274511" y="1722406"/>
                    </a:lnTo>
                    <a:lnTo>
                      <a:pt x="1828800" y="1722406"/>
                    </a:lnTo>
                    <a:lnTo>
                      <a:pt x="1914525" y="1722406"/>
                    </a:lnTo>
                    <a:lnTo>
                      <a:pt x="1943100" y="1722406"/>
                    </a:lnTo>
                    <a:lnTo>
                      <a:pt x="2191417" y="1465231"/>
                    </a:lnTo>
                    <a:lnTo>
                      <a:pt x="4115848" y="1465231"/>
                    </a:lnTo>
                    <a:lnTo>
                      <a:pt x="4386548" y="1722406"/>
                    </a:lnTo>
                    <a:lnTo>
                      <a:pt x="4457700" y="1722406"/>
                    </a:lnTo>
                    <a:lnTo>
                      <a:pt x="4502849" y="1722406"/>
                    </a:lnTo>
                    <a:lnTo>
                      <a:pt x="5545265" y="1722406"/>
                    </a:lnTo>
                    <a:lnTo>
                      <a:pt x="5546312" y="1719739"/>
                    </a:lnTo>
                    <a:lnTo>
                      <a:pt x="5819775" y="1455706"/>
                    </a:lnTo>
                    <a:lnTo>
                      <a:pt x="5819775" y="1446181"/>
                    </a:lnTo>
                    <a:lnTo>
                      <a:pt x="5819775" y="1389031"/>
                    </a:lnTo>
                    <a:lnTo>
                      <a:pt x="5819775" y="866775"/>
                    </a:lnTo>
                    <a:close/>
                  </a:path>
                </a:pathLst>
              </a:custGeom>
              <a:gradFill flip="none" rotWithShape="1">
                <a:gsLst>
                  <a:gs pos="30000">
                    <a:schemeClr val="accent2">
                      <a:lumMod val="40000"/>
                      <a:lumOff val="60000"/>
                    </a:schemeClr>
                  </a:gs>
                  <a:gs pos="100000">
                    <a:schemeClr val="accent2"/>
                  </a:gs>
                </a:gsLst>
                <a:lin ang="5400000" scaled="1"/>
                <a:tileRect/>
              </a:gradFill>
              <a:ln w="9525" cap="flat">
                <a:noFill/>
                <a:prstDash val="solid"/>
                <a:miter/>
              </a:ln>
            </p:spPr>
            <p:txBody>
              <a:bodyPr rtlCol="0" anchor="ctr"/>
              <a:lstStyle/>
              <a:p>
                <a:endParaRPr lang="zh-CN" altLang="en-US"/>
              </a:p>
            </p:txBody>
          </p:sp>
          <p:sp>
            <p:nvSpPr>
              <p:cNvPr id="33" name="任意多边形: 形状 32"/>
              <p:cNvSpPr/>
              <p:nvPr/>
            </p:nvSpPr>
            <p:spPr>
              <a:xfrm>
                <a:off x="1105046" y="1207169"/>
                <a:ext cx="3332749" cy="1306960"/>
              </a:xfrm>
              <a:custGeom>
                <a:avLst/>
                <a:gdLst>
                  <a:gd name="connsiteX0" fmla="*/ 1943100 w 1943100"/>
                  <a:gd name="connsiteY0" fmla="*/ 47625 h 762000"/>
                  <a:gd name="connsiteX1" fmla="*/ 1943100 w 1943100"/>
                  <a:gd name="connsiteY1" fmla="*/ 0 h 762000"/>
                  <a:gd name="connsiteX2" fmla="*/ 276225 w 1943100"/>
                  <a:gd name="connsiteY2" fmla="*/ 0 h 762000"/>
                  <a:gd name="connsiteX3" fmla="*/ 0 w 1943100"/>
                  <a:gd name="connsiteY3" fmla="*/ 266700 h 762000"/>
                  <a:gd name="connsiteX4" fmla="*/ 0 w 1943100"/>
                  <a:gd name="connsiteY4" fmla="*/ 285750 h 762000"/>
                  <a:gd name="connsiteX5" fmla="*/ 0 w 1943100"/>
                  <a:gd name="connsiteY5" fmla="*/ 323850 h 762000"/>
                  <a:gd name="connsiteX6" fmla="*/ 0 w 1943100"/>
                  <a:gd name="connsiteY6" fmla="*/ 762000 h 762000"/>
                  <a:gd name="connsiteX7" fmla="*/ 47625 w 1943100"/>
                  <a:gd name="connsiteY7" fmla="*/ 762000 h 762000"/>
                  <a:gd name="connsiteX8" fmla="*/ 47625 w 1943100"/>
                  <a:gd name="connsiteY8" fmla="*/ 277749 h 762000"/>
                  <a:gd name="connsiteX9" fmla="*/ 285464 w 1943100"/>
                  <a:gd name="connsiteY9" fmla="*/ 47625 h 76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3100" h="762000">
                    <a:moveTo>
                      <a:pt x="1943100" y="47625"/>
                    </a:moveTo>
                    <a:lnTo>
                      <a:pt x="1943100" y="0"/>
                    </a:lnTo>
                    <a:lnTo>
                      <a:pt x="276225" y="0"/>
                    </a:lnTo>
                    <a:lnTo>
                      <a:pt x="0" y="266700"/>
                    </a:lnTo>
                    <a:lnTo>
                      <a:pt x="0" y="285750"/>
                    </a:lnTo>
                    <a:lnTo>
                      <a:pt x="0" y="323850"/>
                    </a:lnTo>
                    <a:lnTo>
                      <a:pt x="0" y="762000"/>
                    </a:lnTo>
                    <a:lnTo>
                      <a:pt x="47625" y="762000"/>
                    </a:lnTo>
                    <a:lnTo>
                      <a:pt x="47625" y="277749"/>
                    </a:lnTo>
                    <a:lnTo>
                      <a:pt x="285464" y="47625"/>
                    </a:lnTo>
                    <a:close/>
                  </a:path>
                </a:pathLst>
              </a:custGeom>
              <a:gradFill flip="none" rotWithShape="1">
                <a:gsLst>
                  <a:gs pos="30000">
                    <a:schemeClr val="accent2">
                      <a:lumMod val="60000"/>
                      <a:lumOff val="40000"/>
                    </a:schemeClr>
                  </a:gs>
                  <a:gs pos="100000">
                    <a:schemeClr val="accent2"/>
                  </a:gs>
                </a:gsLst>
                <a:lin ang="16200000" scaled="1"/>
                <a:tileRect/>
              </a:gradFill>
              <a:ln w="9525" cap="flat">
                <a:noFill/>
                <a:prstDash val="solid"/>
                <a:miter/>
              </a:ln>
            </p:spPr>
            <p:txBody>
              <a:bodyPr rtlCol="0" anchor="ctr"/>
              <a:lstStyle/>
              <a:p>
                <a:endParaRPr lang="zh-CN" altLang="en-US"/>
              </a:p>
            </p:txBody>
          </p:sp>
          <p:sp>
            <p:nvSpPr>
              <p:cNvPr id="34" name="任意多边形: 形状 33"/>
              <p:cNvSpPr/>
              <p:nvPr/>
            </p:nvSpPr>
            <p:spPr>
              <a:xfrm>
                <a:off x="7509151" y="1419550"/>
                <a:ext cx="2091136" cy="16337"/>
              </a:xfrm>
              <a:custGeom>
                <a:avLst/>
                <a:gdLst>
                  <a:gd name="connsiteX0" fmla="*/ 1219200 w 1219200"/>
                  <a:gd name="connsiteY0" fmla="*/ 9525 h 9525"/>
                  <a:gd name="connsiteX1" fmla="*/ 0 w 1219200"/>
                  <a:gd name="connsiteY1" fmla="*/ 9525 h 9525"/>
                  <a:gd name="connsiteX2" fmla="*/ 1143 w 1219200"/>
                  <a:gd name="connsiteY2" fmla="*/ 0 h 9525"/>
                  <a:gd name="connsiteX3" fmla="*/ 1219200 w 1219200"/>
                  <a:gd name="connsiteY3" fmla="*/ 0 h 9525"/>
                </a:gdLst>
                <a:ahLst/>
                <a:cxnLst>
                  <a:cxn ang="0">
                    <a:pos x="connsiteX0" y="connsiteY0"/>
                  </a:cxn>
                  <a:cxn ang="0">
                    <a:pos x="connsiteX1" y="connsiteY1"/>
                  </a:cxn>
                  <a:cxn ang="0">
                    <a:pos x="connsiteX2" y="connsiteY2"/>
                  </a:cxn>
                  <a:cxn ang="0">
                    <a:pos x="connsiteX3" y="connsiteY3"/>
                  </a:cxn>
                </a:cxnLst>
                <a:rect l="l" t="t" r="r" b="b"/>
                <a:pathLst>
                  <a:path w="1219200" h="9525">
                    <a:moveTo>
                      <a:pt x="1219200" y="9525"/>
                    </a:moveTo>
                    <a:lnTo>
                      <a:pt x="0" y="9525"/>
                    </a:lnTo>
                    <a:lnTo>
                      <a:pt x="1143" y="0"/>
                    </a:lnTo>
                    <a:lnTo>
                      <a:pt x="1219200" y="0"/>
                    </a:lnTo>
                    <a:close/>
                  </a:path>
                </a:pathLst>
              </a:custGeom>
              <a:solidFill>
                <a:schemeClr val="accent2">
                  <a:alpha val="50000"/>
                </a:schemeClr>
              </a:solidFill>
              <a:ln w="9525" cap="flat">
                <a:noFill/>
                <a:prstDash val="solid"/>
                <a:miter/>
              </a:ln>
            </p:spPr>
            <p:txBody>
              <a:bodyPr rtlCol="0" anchor="ctr"/>
              <a:lstStyle/>
              <a:p>
                <a:endParaRPr lang="zh-CN" altLang="en-US"/>
              </a:p>
            </p:txBody>
          </p:sp>
          <p:grpSp>
            <p:nvGrpSpPr>
              <p:cNvPr id="35" name="组合 34"/>
              <p:cNvGrpSpPr/>
              <p:nvPr/>
            </p:nvGrpSpPr>
            <p:grpSpPr>
              <a:xfrm>
                <a:off x="1268416" y="1337865"/>
                <a:ext cx="2875312" cy="529319"/>
                <a:chOff x="1268416" y="1337865"/>
                <a:chExt cx="2875312" cy="529319"/>
              </a:xfrm>
            </p:grpSpPr>
            <p:sp>
              <p:nvSpPr>
                <p:cNvPr id="67" name="任意多边形: 形状 66"/>
                <p:cNvSpPr/>
                <p:nvPr/>
              </p:nvSpPr>
              <p:spPr>
                <a:xfrm>
                  <a:off x="3139002" y="1346033"/>
                  <a:ext cx="996557" cy="81685"/>
                </a:xfrm>
                <a:custGeom>
                  <a:avLst/>
                  <a:gdLst>
                    <a:gd name="connsiteX0" fmla="*/ 0 w 581025"/>
                    <a:gd name="connsiteY0" fmla="*/ 0 h 47625"/>
                    <a:gd name="connsiteX1" fmla="*/ 581025 w 581025"/>
                    <a:gd name="connsiteY1" fmla="*/ 0 h 47625"/>
                    <a:gd name="connsiteX2" fmla="*/ 581025 w 581025"/>
                    <a:gd name="connsiteY2" fmla="*/ 47625 h 47625"/>
                    <a:gd name="connsiteX3" fmla="*/ 0 w 581025"/>
                    <a:gd name="connsiteY3" fmla="*/ 47625 h 47625"/>
                  </a:gdLst>
                  <a:ahLst/>
                  <a:cxnLst>
                    <a:cxn ang="0">
                      <a:pos x="connsiteX0" y="connsiteY0"/>
                    </a:cxn>
                    <a:cxn ang="0">
                      <a:pos x="connsiteX1" y="connsiteY1"/>
                    </a:cxn>
                    <a:cxn ang="0">
                      <a:pos x="connsiteX2" y="connsiteY2"/>
                    </a:cxn>
                    <a:cxn ang="0">
                      <a:pos x="connsiteX3" y="connsiteY3"/>
                    </a:cxn>
                  </a:cxnLst>
                  <a:rect l="l" t="t" r="r" b="b"/>
                  <a:pathLst>
                    <a:path w="581025" h="47625">
                      <a:moveTo>
                        <a:pt x="0" y="0"/>
                      </a:moveTo>
                      <a:lnTo>
                        <a:pt x="581025" y="0"/>
                      </a:lnTo>
                      <a:lnTo>
                        <a:pt x="581025" y="47625"/>
                      </a:lnTo>
                      <a:lnTo>
                        <a:pt x="0" y="47625"/>
                      </a:lnTo>
                      <a:close/>
                    </a:path>
                  </a:pathLst>
                </a:custGeom>
                <a:gradFill flip="none" rotWithShape="1">
                  <a:gsLst>
                    <a:gs pos="10000">
                      <a:schemeClr val="accent3">
                        <a:alpha val="0"/>
                      </a:schemeClr>
                    </a:gs>
                    <a:gs pos="100000">
                      <a:schemeClr val="accent3"/>
                    </a:gs>
                  </a:gsLst>
                  <a:lin ang="0" scaled="1"/>
                  <a:tileRect/>
                </a:gradFill>
                <a:ln w="9525" cap="flat">
                  <a:noFill/>
                  <a:prstDash val="solid"/>
                  <a:miter/>
                </a:ln>
              </p:spPr>
              <p:txBody>
                <a:bodyPr rtlCol="0" anchor="ctr"/>
                <a:lstStyle/>
                <a:p>
                  <a:endParaRPr lang="zh-CN" altLang="en-US"/>
                </a:p>
              </p:txBody>
            </p:sp>
            <p:sp>
              <p:nvSpPr>
                <p:cNvPr id="68" name="任意多边形: 形状 67"/>
                <p:cNvSpPr/>
                <p:nvPr/>
              </p:nvSpPr>
              <p:spPr>
                <a:xfrm>
                  <a:off x="3130834" y="1337865"/>
                  <a:ext cx="1012894" cy="98022"/>
                </a:xfrm>
                <a:custGeom>
                  <a:avLst/>
                  <a:gdLst>
                    <a:gd name="connsiteX0" fmla="*/ 0 w 590550"/>
                    <a:gd name="connsiteY0" fmla="*/ 0 h 57150"/>
                    <a:gd name="connsiteX1" fmla="*/ 0 w 590550"/>
                    <a:gd name="connsiteY1" fmla="*/ 57150 h 57150"/>
                    <a:gd name="connsiteX2" fmla="*/ 590550 w 590550"/>
                    <a:gd name="connsiteY2" fmla="*/ 57150 h 57150"/>
                    <a:gd name="connsiteX3" fmla="*/ 590550 w 590550"/>
                    <a:gd name="connsiteY3" fmla="*/ 0 h 57150"/>
                    <a:gd name="connsiteX4" fmla="*/ 0 w 590550"/>
                    <a:gd name="connsiteY4" fmla="*/ 0 h 57150"/>
                    <a:gd name="connsiteX5" fmla="*/ 581025 w 590550"/>
                    <a:gd name="connsiteY5" fmla="*/ 47625 h 57150"/>
                    <a:gd name="connsiteX6" fmla="*/ 9525 w 590550"/>
                    <a:gd name="connsiteY6" fmla="*/ 47625 h 57150"/>
                    <a:gd name="connsiteX7" fmla="*/ 9525 w 590550"/>
                    <a:gd name="connsiteY7" fmla="*/ 9525 h 57150"/>
                    <a:gd name="connsiteX8" fmla="*/ 581025 w 590550"/>
                    <a:gd name="connsiteY8" fmla="*/ 9525 h 57150"/>
                    <a:gd name="connsiteX9" fmla="*/ 581025 w 590550"/>
                    <a:gd name="connsiteY9" fmla="*/ 47625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90550" h="57150">
                      <a:moveTo>
                        <a:pt x="0" y="0"/>
                      </a:moveTo>
                      <a:lnTo>
                        <a:pt x="0" y="57150"/>
                      </a:lnTo>
                      <a:lnTo>
                        <a:pt x="590550" y="57150"/>
                      </a:lnTo>
                      <a:lnTo>
                        <a:pt x="590550" y="0"/>
                      </a:lnTo>
                      <a:lnTo>
                        <a:pt x="0" y="0"/>
                      </a:lnTo>
                      <a:close/>
                      <a:moveTo>
                        <a:pt x="581025" y="47625"/>
                      </a:moveTo>
                      <a:lnTo>
                        <a:pt x="9525" y="47625"/>
                      </a:lnTo>
                      <a:lnTo>
                        <a:pt x="9525" y="9525"/>
                      </a:lnTo>
                      <a:lnTo>
                        <a:pt x="581025" y="9525"/>
                      </a:lnTo>
                      <a:lnTo>
                        <a:pt x="581025" y="47625"/>
                      </a:lnTo>
                      <a:close/>
                    </a:path>
                  </a:pathLst>
                </a:custGeom>
                <a:solidFill>
                  <a:schemeClr val="accent3"/>
                </a:solidFill>
                <a:ln w="9525" cap="flat">
                  <a:noFill/>
                  <a:prstDash val="solid"/>
                  <a:miter/>
                </a:ln>
              </p:spPr>
              <p:txBody>
                <a:bodyPr rtlCol="0" anchor="ctr"/>
                <a:lstStyle/>
                <a:p>
                  <a:endParaRPr lang="zh-CN" altLang="en-US"/>
                </a:p>
              </p:txBody>
            </p:sp>
            <p:grpSp>
              <p:nvGrpSpPr>
                <p:cNvPr id="69" name="组合 68"/>
                <p:cNvGrpSpPr/>
                <p:nvPr/>
              </p:nvGrpSpPr>
              <p:grpSpPr>
                <a:xfrm>
                  <a:off x="1268416" y="1370539"/>
                  <a:ext cx="1878755" cy="496645"/>
                  <a:chOff x="3281362" y="2228850"/>
                  <a:chExt cx="1095375" cy="289560"/>
                </a:xfrm>
                <a:gradFill flip="none" rotWithShape="1">
                  <a:gsLst>
                    <a:gs pos="0">
                      <a:schemeClr val="accent3"/>
                    </a:gs>
                    <a:gs pos="80000">
                      <a:schemeClr val="accent3">
                        <a:lumMod val="60000"/>
                        <a:lumOff val="40000"/>
                      </a:schemeClr>
                    </a:gs>
                  </a:gsLst>
                  <a:lin ang="5400000" scaled="1"/>
                  <a:tileRect/>
                </a:gradFill>
              </p:grpSpPr>
              <p:sp>
                <p:nvSpPr>
                  <p:cNvPr id="70" name="任意多边形: 形状 69"/>
                  <p:cNvSpPr/>
                  <p:nvPr/>
                </p:nvSpPr>
                <p:spPr>
                  <a:xfrm>
                    <a:off x="3281362" y="2228850"/>
                    <a:ext cx="299942" cy="289560"/>
                  </a:xfrm>
                  <a:custGeom>
                    <a:avLst/>
                    <a:gdLst>
                      <a:gd name="connsiteX0" fmla="*/ 229172 w 299942"/>
                      <a:gd name="connsiteY0" fmla="*/ 0 h 289560"/>
                      <a:gd name="connsiteX1" fmla="*/ 0 w 299942"/>
                      <a:gd name="connsiteY1" fmla="*/ 218789 h 289560"/>
                      <a:gd name="connsiteX2" fmla="*/ 0 w 299942"/>
                      <a:gd name="connsiteY2" fmla="*/ 289560 h 289560"/>
                      <a:gd name="connsiteX3" fmla="*/ 299942 w 299942"/>
                      <a:gd name="connsiteY3" fmla="*/ 0 h 289560"/>
                    </a:gdLst>
                    <a:ahLst/>
                    <a:cxnLst>
                      <a:cxn ang="0">
                        <a:pos x="connsiteX0" y="connsiteY0"/>
                      </a:cxn>
                      <a:cxn ang="0">
                        <a:pos x="connsiteX1" y="connsiteY1"/>
                      </a:cxn>
                      <a:cxn ang="0">
                        <a:pos x="connsiteX2" y="connsiteY2"/>
                      </a:cxn>
                      <a:cxn ang="0">
                        <a:pos x="connsiteX3" y="connsiteY3"/>
                      </a:cxn>
                    </a:cxnLst>
                    <a:rect l="l" t="t" r="r" b="b"/>
                    <a:pathLst>
                      <a:path w="299942" h="289560">
                        <a:moveTo>
                          <a:pt x="229172" y="0"/>
                        </a:moveTo>
                        <a:lnTo>
                          <a:pt x="0" y="218789"/>
                        </a:lnTo>
                        <a:lnTo>
                          <a:pt x="0" y="289560"/>
                        </a:lnTo>
                        <a:lnTo>
                          <a:pt x="299942" y="0"/>
                        </a:lnTo>
                        <a:close/>
                      </a:path>
                    </a:pathLst>
                  </a:custGeom>
                  <a:grpFill/>
                  <a:ln w="9525" cap="flat">
                    <a:noFill/>
                    <a:prstDash val="solid"/>
                    <a:miter/>
                  </a:ln>
                </p:spPr>
                <p:txBody>
                  <a:bodyPr rtlCol="0" anchor="ctr"/>
                  <a:lstStyle/>
                  <a:p>
                    <a:endParaRPr lang="zh-CN" altLang="en-US"/>
                  </a:p>
                </p:txBody>
              </p:sp>
              <p:sp>
                <p:nvSpPr>
                  <p:cNvPr id="71" name="任意多边形: 形状 70"/>
                  <p:cNvSpPr/>
                  <p:nvPr/>
                </p:nvSpPr>
                <p:spPr>
                  <a:xfrm>
                    <a:off x="3498531" y="2228850"/>
                    <a:ext cx="878205" cy="139827"/>
                  </a:xfrm>
                  <a:custGeom>
                    <a:avLst/>
                    <a:gdLst>
                      <a:gd name="connsiteX0" fmla="*/ 878205 w 878205"/>
                      <a:gd name="connsiteY0" fmla="*/ 0 h 139827"/>
                      <a:gd name="connsiteX1" fmla="*/ 144780 w 878205"/>
                      <a:gd name="connsiteY1" fmla="*/ 0 h 139827"/>
                      <a:gd name="connsiteX2" fmla="*/ 126873 w 878205"/>
                      <a:gd name="connsiteY2" fmla="*/ 0 h 139827"/>
                      <a:gd name="connsiteX3" fmla="*/ 119825 w 878205"/>
                      <a:gd name="connsiteY3" fmla="*/ 0 h 139827"/>
                      <a:gd name="connsiteX4" fmla="*/ 0 w 878205"/>
                      <a:gd name="connsiteY4" fmla="*/ 114871 h 139827"/>
                      <a:gd name="connsiteX5" fmla="*/ 0 w 878205"/>
                      <a:gd name="connsiteY5" fmla="*/ 139827 h 139827"/>
                      <a:gd name="connsiteX6" fmla="*/ 134874 w 878205"/>
                      <a:gd name="connsiteY6" fmla="*/ 9525 h 139827"/>
                      <a:gd name="connsiteX7" fmla="*/ 878205 w 878205"/>
                      <a:gd name="connsiteY7" fmla="*/ 9525 h 139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205" h="139827">
                        <a:moveTo>
                          <a:pt x="878205" y="0"/>
                        </a:moveTo>
                        <a:lnTo>
                          <a:pt x="144780" y="0"/>
                        </a:lnTo>
                        <a:lnTo>
                          <a:pt x="126873" y="0"/>
                        </a:lnTo>
                        <a:lnTo>
                          <a:pt x="119825" y="0"/>
                        </a:lnTo>
                        <a:lnTo>
                          <a:pt x="0" y="114871"/>
                        </a:lnTo>
                        <a:lnTo>
                          <a:pt x="0" y="139827"/>
                        </a:lnTo>
                        <a:lnTo>
                          <a:pt x="134874" y="9525"/>
                        </a:lnTo>
                        <a:lnTo>
                          <a:pt x="878205" y="9525"/>
                        </a:lnTo>
                        <a:close/>
                      </a:path>
                    </a:pathLst>
                  </a:custGeom>
                  <a:grpFill/>
                  <a:ln w="9525" cap="flat">
                    <a:noFill/>
                    <a:prstDash val="solid"/>
                    <a:miter/>
                  </a:ln>
                </p:spPr>
                <p:txBody>
                  <a:bodyPr rtlCol="0" anchor="ctr"/>
                  <a:lstStyle/>
                  <a:p>
                    <a:endParaRPr lang="zh-CN" altLang="en-US"/>
                  </a:p>
                </p:txBody>
              </p:sp>
            </p:grpSp>
          </p:grpSp>
          <p:sp>
            <p:nvSpPr>
              <p:cNvPr id="36" name="任意多边形: 形状 35"/>
              <p:cNvSpPr/>
              <p:nvPr/>
            </p:nvSpPr>
            <p:spPr>
              <a:xfrm>
                <a:off x="4601165" y="1207169"/>
                <a:ext cx="6485790" cy="2777290"/>
              </a:xfrm>
              <a:custGeom>
                <a:avLst/>
                <a:gdLst>
                  <a:gd name="connsiteX0" fmla="*/ 3505200 w 3781425"/>
                  <a:gd name="connsiteY0" fmla="*/ 0 h 1619250"/>
                  <a:gd name="connsiteX1" fmla="*/ 3124200 w 3781425"/>
                  <a:gd name="connsiteY1" fmla="*/ 0 h 1619250"/>
                  <a:gd name="connsiteX2" fmla="*/ 3019425 w 3781425"/>
                  <a:gd name="connsiteY2" fmla="*/ 0 h 1619250"/>
                  <a:gd name="connsiteX3" fmla="*/ 3009900 w 3781425"/>
                  <a:gd name="connsiteY3" fmla="*/ 0 h 1619250"/>
                  <a:gd name="connsiteX4" fmla="*/ 2830259 w 3781425"/>
                  <a:gd name="connsiteY4" fmla="*/ 171450 h 1619250"/>
                  <a:gd name="connsiteX5" fmla="*/ 1779651 w 3781425"/>
                  <a:gd name="connsiteY5" fmla="*/ 171450 h 1619250"/>
                  <a:gd name="connsiteX6" fmla="*/ 1619250 w 3781425"/>
                  <a:gd name="connsiteY6" fmla="*/ 19050 h 1619250"/>
                  <a:gd name="connsiteX7" fmla="*/ 1609725 w 3781425"/>
                  <a:gd name="connsiteY7" fmla="*/ 19050 h 1619250"/>
                  <a:gd name="connsiteX8" fmla="*/ 1543050 w 3781425"/>
                  <a:gd name="connsiteY8" fmla="*/ 19050 h 1619250"/>
                  <a:gd name="connsiteX9" fmla="*/ 47149 w 3781425"/>
                  <a:gd name="connsiteY9" fmla="*/ 19050 h 1619250"/>
                  <a:gd name="connsiteX10" fmla="*/ 23813 w 3781425"/>
                  <a:gd name="connsiteY10" fmla="*/ 0 h 1619250"/>
                  <a:gd name="connsiteX11" fmla="*/ 0 w 3781425"/>
                  <a:gd name="connsiteY11" fmla="*/ 23813 h 1619250"/>
                  <a:gd name="connsiteX12" fmla="*/ 23813 w 3781425"/>
                  <a:gd name="connsiteY12" fmla="*/ 47625 h 1619250"/>
                  <a:gd name="connsiteX13" fmla="*/ 47149 w 3781425"/>
                  <a:gd name="connsiteY13" fmla="*/ 28575 h 1619250"/>
                  <a:gd name="connsiteX14" fmla="*/ 1553051 w 3781425"/>
                  <a:gd name="connsiteY14" fmla="*/ 28575 h 1619250"/>
                  <a:gd name="connsiteX15" fmla="*/ 1733550 w 3781425"/>
                  <a:gd name="connsiteY15" fmla="*/ 200025 h 1619250"/>
                  <a:gd name="connsiteX16" fmla="*/ 1743075 w 3781425"/>
                  <a:gd name="connsiteY16" fmla="*/ 200025 h 1619250"/>
                  <a:gd name="connsiteX17" fmla="*/ 1809750 w 3781425"/>
                  <a:gd name="connsiteY17" fmla="*/ 200025 h 1619250"/>
                  <a:gd name="connsiteX18" fmla="*/ 2800350 w 3781425"/>
                  <a:gd name="connsiteY18" fmla="*/ 200025 h 1619250"/>
                  <a:gd name="connsiteX19" fmla="*/ 2867025 w 3781425"/>
                  <a:gd name="connsiteY19" fmla="*/ 200025 h 1619250"/>
                  <a:gd name="connsiteX20" fmla="*/ 2914650 w 3781425"/>
                  <a:gd name="connsiteY20" fmla="*/ 200025 h 1619250"/>
                  <a:gd name="connsiteX21" fmla="*/ 3074289 w 3781425"/>
                  <a:gd name="connsiteY21" fmla="*/ 47625 h 1619250"/>
                  <a:gd name="connsiteX22" fmla="*/ 3438525 w 3781425"/>
                  <a:gd name="connsiteY22" fmla="*/ 47625 h 1619250"/>
                  <a:gd name="connsiteX23" fmla="*/ 3733800 w 3781425"/>
                  <a:gd name="connsiteY23" fmla="*/ 334709 h 1619250"/>
                  <a:gd name="connsiteX24" fmla="*/ 3733800 w 3781425"/>
                  <a:gd name="connsiteY24" fmla="*/ 1619250 h 1619250"/>
                  <a:gd name="connsiteX25" fmla="*/ 3781425 w 3781425"/>
                  <a:gd name="connsiteY25" fmla="*/ 1619250 h 1619250"/>
                  <a:gd name="connsiteX26" fmla="*/ 3781425 w 3781425"/>
                  <a:gd name="connsiteY26" fmla="*/ 381000 h 1619250"/>
                  <a:gd name="connsiteX27" fmla="*/ 3781425 w 3781425"/>
                  <a:gd name="connsiteY27" fmla="*/ 285750 h 1619250"/>
                  <a:gd name="connsiteX28" fmla="*/ 3781425 w 3781425"/>
                  <a:gd name="connsiteY28" fmla="*/ 266700 h 1619250"/>
                  <a:gd name="connsiteX29" fmla="*/ 3505200 w 3781425"/>
                  <a:gd name="connsiteY29" fmla="*/ 0 h 161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781425" h="1619250">
                    <a:moveTo>
                      <a:pt x="3505200" y="0"/>
                    </a:moveTo>
                    <a:lnTo>
                      <a:pt x="3124200" y="0"/>
                    </a:lnTo>
                    <a:lnTo>
                      <a:pt x="3019425" y="0"/>
                    </a:lnTo>
                    <a:lnTo>
                      <a:pt x="3009900" y="0"/>
                    </a:lnTo>
                    <a:lnTo>
                      <a:pt x="2830259" y="171450"/>
                    </a:lnTo>
                    <a:lnTo>
                      <a:pt x="1779651" y="171450"/>
                    </a:lnTo>
                    <a:lnTo>
                      <a:pt x="1619250" y="19050"/>
                    </a:lnTo>
                    <a:lnTo>
                      <a:pt x="1609725" y="19050"/>
                    </a:lnTo>
                    <a:lnTo>
                      <a:pt x="1543050" y="19050"/>
                    </a:lnTo>
                    <a:lnTo>
                      <a:pt x="47149" y="19050"/>
                    </a:lnTo>
                    <a:cubicBezTo>
                      <a:pt x="44958" y="8192"/>
                      <a:pt x="35338" y="0"/>
                      <a:pt x="23813" y="0"/>
                    </a:cubicBezTo>
                    <a:cubicBezTo>
                      <a:pt x="10668" y="0"/>
                      <a:pt x="0" y="10668"/>
                      <a:pt x="0" y="23813"/>
                    </a:cubicBezTo>
                    <a:cubicBezTo>
                      <a:pt x="0" y="36957"/>
                      <a:pt x="10668" y="47625"/>
                      <a:pt x="23813" y="47625"/>
                    </a:cubicBezTo>
                    <a:cubicBezTo>
                      <a:pt x="35338" y="47625"/>
                      <a:pt x="44958" y="39434"/>
                      <a:pt x="47149" y="28575"/>
                    </a:cubicBezTo>
                    <a:lnTo>
                      <a:pt x="1553051" y="28575"/>
                    </a:lnTo>
                    <a:lnTo>
                      <a:pt x="1733550" y="200025"/>
                    </a:lnTo>
                    <a:lnTo>
                      <a:pt x="1743075" y="200025"/>
                    </a:lnTo>
                    <a:lnTo>
                      <a:pt x="1809750" y="200025"/>
                    </a:lnTo>
                    <a:lnTo>
                      <a:pt x="2800350" y="200025"/>
                    </a:lnTo>
                    <a:lnTo>
                      <a:pt x="2867025" y="200025"/>
                    </a:lnTo>
                    <a:lnTo>
                      <a:pt x="2914650" y="200025"/>
                    </a:lnTo>
                    <a:lnTo>
                      <a:pt x="3074289" y="47625"/>
                    </a:lnTo>
                    <a:lnTo>
                      <a:pt x="3438525" y="47625"/>
                    </a:lnTo>
                    <a:lnTo>
                      <a:pt x="3733800" y="334709"/>
                    </a:lnTo>
                    <a:lnTo>
                      <a:pt x="3733800" y="1619250"/>
                    </a:lnTo>
                    <a:lnTo>
                      <a:pt x="3781425" y="1619250"/>
                    </a:lnTo>
                    <a:lnTo>
                      <a:pt x="3781425" y="381000"/>
                    </a:lnTo>
                    <a:lnTo>
                      <a:pt x="3781425" y="285750"/>
                    </a:lnTo>
                    <a:lnTo>
                      <a:pt x="3781425" y="266700"/>
                    </a:lnTo>
                    <a:lnTo>
                      <a:pt x="3505200" y="0"/>
                    </a:lnTo>
                    <a:close/>
                  </a:path>
                </a:pathLst>
              </a:custGeom>
              <a:gradFill flip="none" rotWithShape="1">
                <a:gsLst>
                  <a:gs pos="30000">
                    <a:schemeClr val="accent2">
                      <a:lumMod val="40000"/>
                      <a:lumOff val="60000"/>
                    </a:schemeClr>
                  </a:gs>
                  <a:gs pos="100000">
                    <a:schemeClr val="accent2"/>
                  </a:gs>
                </a:gsLst>
                <a:lin ang="16200000" scaled="1"/>
                <a:tileRect/>
              </a:gradFill>
              <a:ln w="9525" cap="flat">
                <a:noFill/>
                <a:prstDash val="solid"/>
                <a:miter/>
              </a:ln>
            </p:spPr>
            <p:txBody>
              <a:bodyPr rtlCol="0" anchor="ctr"/>
              <a:lstStyle/>
              <a:p>
                <a:endParaRPr lang="zh-CN" altLang="en-US"/>
              </a:p>
            </p:txBody>
          </p:sp>
          <p:grpSp>
            <p:nvGrpSpPr>
              <p:cNvPr id="37" name="组合 36"/>
              <p:cNvGrpSpPr/>
              <p:nvPr/>
            </p:nvGrpSpPr>
            <p:grpSpPr>
              <a:xfrm>
                <a:off x="4878894" y="1321528"/>
                <a:ext cx="2548572" cy="196044"/>
                <a:chOff x="4878894" y="1321528"/>
                <a:chExt cx="2548572" cy="196044"/>
              </a:xfrm>
            </p:grpSpPr>
            <p:sp>
              <p:nvSpPr>
                <p:cNvPr id="56" name="任意多边形: 形状 55"/>
                <p:cNvSpPr/>
                <p:nvPr/>
              </p:nvSpPr>
              <p:spPr>
                <a:xfrm>
                  <a:off x="4878894" y="1321528"/>
                  <a:ext cx="686154" cy="196044"/>
                </a:xfrm>
                <a:custGeom>
                  <a:avLst/>
                  <a:gdLst>
                    <a:gd name="connsiteX0" fmla="*/ 285750 w 400050"/>
                    <a:gd name="connsiteY0" fmla="*/ 0 h 114300"/>
                    <a:gd name="connsiteX1" fmla="*/ 0 w 400050"/>
                    <a:gd name="connsiteY1" fmla="*/ 0 h 114300"/>
                    <a:gd name="connsiteX2" fmla="*/ 114300 w 400050"/>
                    <a:gd name="connsiteY2" fmla="*/ 114300 h 114300"/>
                    <a:gd name="connsiteX3" fmla="*/ 400050 w 400050"/>
                    <a:gd name="connsiteY3" fmla="*/ 114300 h 114300"/>
                    <a:gd name="connsiteX4" fmla="*/ 285750 w 400050"/>
                    <a:gd name="connsiteY4" fmla="*/ 0 h 114300"/>
                    <a:gd name="connsiteX5" fmla="*/ 28575 w 400050"/>
                    <a:gd name="connsiteY5" fmla="*/ 9525 h 114300"/>
                    <a:gd name="connsiteX6" fmla="*/ 276225 w 400050"/>
                    <a:gd name="connsiteY6" fmla="*/ 9525 h 114300"/>
                    <a:gd name="connsiteX7" fmla="*/ 371475 w 400050"/>
                    <a:gd name="connsiteY7" fmla="*/ 104775 h 114300"/>
                    <a:gd name="connsiteX8" fmla="*/ 123825 w 400050"/>
                    <a:gd name="connsiteY8" fmla="*/ 104775 h 114300"/>
                    <a:gd name="connsiteX9" fmla="*/ 28575 w 400050"/>
                    <a:gd name="connsiteY9" fmla="*/ 9525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0050" h="114300">
                      <a:moveTo>
                        <a:pt x="285750" y="0"/>
                      </a:moveTo>
                      <a:lnTo>
                        <a:pt x="0" y="0"/>
                      </a:lnTo>
                      <a:lnTo>
                        <a:pt x="114300" y="114300"/>
                      </a:lnTo>
                      <a:lnTo>
                        <a:pt x="400050" y="114300"/>
                      </a:lnTo>
                      <a:lnTo>
                        <a:pt x="285750" y="0"/>
                      </a:lnTo>
                      <a:close/>
                      <a:moveTo>
                        <a:pt x="28575" y="9525"/>
                      </a:moveTo>
                      <a:lnTo>
                        <a:pt x="276225" y="9525"/>
                      </a:lnTo>
                      <a:lnTo>
                        <a:pt x="371475" y="104775"/>
                      </a:lnTo>
                      <a:lnTo>
                        <a:pt x="123825" y="104775"/>
                      </a:lnTo>
                      <a:lnTo>
                        <a:pt x="28575" y="9525"/>
                      </a:lnTo>
                      <a:close/>
                    </a:path>
                  </a:pathLst>
                </a:custGeom>
                <a:solidFill>
                  <a:schemeClr val="accent2"/>
                </a:solidFill>
                <a:ln w="9525" cap="flat">
                  <a:noFill/>
                  <a:prstDash val="solid"/>
                  <a:miter/>
                </a:ln>
              </p:spPr>
              <p:txBody>
                <a:bodyPr rtlCol="0" anchor="ctr"/>
                <a:lstStyle/>
                <a:p>
                  <a:endParaRPr lang="zh-CN" altLang="en-US"/>
                </a:p>
              </p:txBody>
            </p:sp>
            <p:grpSp>
              <p:nvGrpSpPr>
                <p:cNvPr id="57" name="组合 56"/>
                <p:cNvGrpSpPr/>
                <p:nvPr/>
              </p:nvGrpSpPr>
              <p:grpSpPr>
                <a:xfrm>
                  <a:off x="5989810" y="1321528"/>
                  <a:ext cx="1437656" cy="196044"/>
                  <a:chOff x="5989810" y="1321528"/>
                  <a:chExt cx="1437656" cy="196044"/>
                </a:xfrm>
              </p:grpSpPr>
              <p:sp>
                <p:nvSpPr>
                  <p:cNvPr id="59" name="任意多边形: 形状 58"/>
                  <p:cNvSpPr/>
                  <p:nvPr/>
                </p:nvSpPr>
                <p:spPr>
                  <a:xfrm>
                    <a:off x="7133400" y="1321528"/>
                    <a:ext cx="294066" cy="196044"/>
                  </a:xfrm>
                  <a:custGeom>
                    <a:avLst/>
                    <a:gdLst>
                      <a:gd name="connsiteX0" fmla="*/ 57150 w 171450"/>
                      <a:gd name="connsiteY0" fmla="*/ 0 h 114300"/>
                      <a:gd name="connsiteX1" fmla="*/ 0 w 171450"/>
                      <a:gd name="connsiteY1" fmla="*/ 0 h 114300"/>
                      <a:gd name="connsiteX2" fmla="*/ 114300 w 171450"/>
                      <a:gd name="connsiteY2" fmla="*/ 114300 h 114300"/>
                      <a:gd name="connsiteX3" fmla="*/ 171450 w 171450"/>
                      <a:gd name="connsiteY3" fmla="*/ 114300 h 114300"/>
                    </a:gdLst>
                    <a:ahLst/>
                    <a:cxnLst>
                      <a:cxn ang="0">
                        <a:pos x="connsiteX0" y="connsiteY0"/>
                      </a:cxn>
                      <a:cxn ang="0">
                        <a:pos x="connsiteX1" y="connsiteY1"/>
                      </a:cxn>
                      <a:cxn ang="0">
                        <a:pos x="connsiteX2" y="connsiteY2"/>
                      </a:cxn>
                      <a:cxn ang="0">
                        <a:pos x="connsiteX3" y="connsiteY3"/>
                      </a:cxn>
                    </a:cxnLst>
                    <a:rect l="l" t="t" r="r" b="b"/>
                    <a:pathLst>
                      <a:path w="171450" h="114300">
                        <a:moveTo>
                          <a:pt x="57150" y="0"/>
                        </a:moveTo>
                        <a:lnTo>
                          <a:pt x="0" y="0"/>
                        </a:lnTo>
                        <a:lnTo>
                          <a:pt x="114300" y="114300"/>
                        </a:lnTo>
                        <a:lnTo>
                          <a:pt x="171450" y="114300"/>
                        </a:lnTo>
                        <a:close/>
                      </a:path>
                    </a:pathLst>
                  </a:custGeom>
                  <a:gradFill flip="none" rotWithShape="1">
                    <a:gsLst>
                      <a:gs pos="15000">
                        <a:schemeClr val="accent2"/>
                      </a:gs>
                      <a:gs pos="100000">
                        <a:schemeClr val="accent1">
                          <a:lumMod val="75000"/>
                          <a:alpha val="0"/>
                        </a:schemeClr>
                      </a:gs>
                    </a:gsLst>
                    <a:lin ang="0" scaled="1"/>
                    <a:tileRect/>
                  </a:gradFill>
                  <a:ln w="9525" cap="flat">
                    <a:noFill/>
                    <a:prstDash val="solid"/>
                    <a:miter/>
                  </a:ln>
                </p:spPr>
                <p:txBody>
                  <a:bodyPr rtlCol="0" anchor="ctr"/>
                  <a:lstStyle/>
                  <a:p>
                    <a:endParaRPr lang="zh-CN" altLang="en-US"/>
                  </a:p>
                </p:txBody>
              </p:sp>
              <p:sp>
                <p:nvSpPr>
                  <p:cNvPr id="60" name="任意多边形: 形状 59"/>
                  <p:cNvSpPr/>
                  <p:nvPr/>
                </p:nvSpPr>
                <p:spPr>
                  <a:xfrm>
                    <a:off x="6970030" y="1321528"/>
                    <a:ext cx="294066" cy="196044"/>
                  </a:xfrm>
                  <a:custGeom>
                    <a:avLst/>
                    <a:gdLst>
                      <a:gd name="connsiteX0" fmla="*/ 0 w 171450"/>
                      <a:gd name="connsiteY0" fmla="*/ 0 h 114300"/>
                      <a:gd name="connsiteX1" fmla="*/ 114300 w 171450"/>
                      <a:gd name="connsiteY1" fmla="*/ 114300 h 114300"/>
                      <a:gd name="connsiteX2" fmla="*/ 171450 w 171450"/>
                      <a:gd name="connsiteY2" fmla="*/ 114300 h 114300"/>
                      <a:gd name="connsiteX3" fmla="*/ 57150 w 171450"/>
                      <a:gd name="connsiteY3" fmla="*/ 0 h 114300"/>
                    </a:gdLst>
                    <a:ahLst/>
                    <a:cxnLst>
                      <a:cxn ang="0">
                        <a:pos x="connsiteX0" y="connsiteY0"/>
                      </a:cxn>
                      <a:cxn ang="0">
                        <a:pos x="connsiteX1" y="connsiteY1"/>
                      </a:cxn>
                      <a:cxn ang="0">
                        <a:pos x="connsiteX2" y="connsiteY2"/>
                      </a:cxn>
                      <a:cxn ang="0">
                        <a:pos x="connsiteX3" y="connsiteY3"/>
                      </a:cxn>
                    </a:cxnLst>
                    <a:rect l="l" t="t" r="r" b="b"/>
                    <a:pathLst>
                      <a:path w="171450" h="114300">
                        <a:moveTo>
                          <a:pt x="0" y="0"/>
                        </a:moveTo>
                        <a:lnTo>
                          <a:pt x="114300" y="114300"/>
                        </a:lnTo>
                        <a:lnTo>
                          <a:pt x="171450" y="114300"/>
                        </a:lnTo>
                        <a:lnTo>
                          <a:pt x="57150" y="0"/>
                        </a:lnTo>
                        <a:close/>
                      </a:path>
                    </a:pathLst>
                  </a:custGeom>
                  <a:gradFill flip="none" rotWithShape="1">
                    <a:gsLst>
                      <a:gs pos="15000">
                        <a:schemeClr val="accent2"/>
                      </a:gs>
                      <a:gs pos="100000">
                        <a:schemeClr val="accent1">
                          <a:lumMod val="75000"/>
                          <a:alpha val="0"/>
                        </a:schemeClr>
                      </a:gs>
                    </a:gsLst>
                    <a:lin ang="0" scaled="1"/>
                    <a:tileRect/>
                  </a:gradFill>
                  <a:ln w="9525" cap="flat">
                    <a:noFill/>
                    <a:prstDash val="solid"/>
                    <a:miter/>
                  </a:ln>
                </p:spPr>
                <p:txBody>
                  <a:bodyPr rtlCol="0" anchor="ctr"/>
                  <a:lstStyle/>
                  <a:p>
                    <a:endParaRPr lang="zh-CN" altLang="en-US"/>
                  </a:p>
                </p:txBody>
              </p:sp>
              <p:sp>
                <p:nvSpPr>
                  <p:cNvPr id="61" name="任意多边形: 形状 60"/>
                  <p:cNvSpPr/>
                  <p:nvPr/>
                </p:nvSpPr>
                <p:spPr>
                  <a:xfrm>
                    <a:off x="6806660" y="1321528"/>
                    <a:ext cx="294066" cy="196044"/>
                  </a:xfrm>
                  <a:custGeom>
                    <a:avLst/>
                    <a:gdLst>
                      <a:gd name="connsiteX0" fmla="*/ 0 w 171450"/>
                      <a:gd name="connsiteY0" fmla="*/ 0 h 114300"/>
                      <a:gd name="connsiteX1" fmla="*/ 114300 w 171450"/>
                      <a:gd name="connsiteY1" fmla="*/ 114300 h 114300"/>
                      <a:gd name="connsiteX2" fmla="*/ 171450 w 171450"/>
                      <a:gd name="connsiteY2" fmla="*/ 114300 h 114300"/>
                      <a:gd name="connsiteX3" fmla="*/ 57150 w 171450"/>
                      <a:gd name="connsiteY3" fmla="*/ 0 h 114300"/>
                    </a:gdLst>
                    <a:ahLst/>
                    <a:cxnLst>
                      <a:cxn ang="0">
                        <a:pos x="connsiteX0" y="connsiteY0"/>
                      </a:cxn>
                      <a:cxn ang="0">
                        <a:pos x="connsiteX1" y="connsiteY1"/>
                      </a:cxn>
                      <a:cxn ang="0">
                        <a:pos x="connsiteX2" y="connsiteY2"/>
                      </a:cxn>
                      <a:cxn ang="0">
                        <a:pos x="connsiteX3" y="connsiteY3"/>
                      </a:cxn>
                    </a:cxnLst>
                    <a:rect l="l" t="t" r="r" b="b"/>
                    <a:pathLst>
                      <a:path w="171450" h="114300">
                        <a:moveTo>
                          <a:pt x="0" y="0"/>
                        </a:moveTo>
                        <a:lnTo>
                          <a:pt x="114300" y="114300"/>
                        </a:lnTo>
                        <a:lnTo>
                          <a:pt x="171450" y="114300"/>
                        </a:lnTo>
                        <a:lnTo>
                          <a:pt x="57150" y="0"/>
                        </a:lnTo>
                        <a:close/>
                      </a:path>
                    </a:pathLst>
                  </a:custGeom>
                  <a:gradFill flip="none" rotWithShape="1">
                    <a:gsLst>
                      <a:gs pos="15000">
                        <a:schemeClr val="accent2"/>
                      </a:gs>
                      <a:gs pos="100000">
                        <a:schemeClr val="accent1">
                          <a:lumMod val="75000"/>
                          <a:alpha val="0"/>
                        </a:schemeClr>
                      </a:gs>
                    </a:gsLst>
                    <a:lin ang="0" scaled="1"/>
                    <a:tileRect/>
                  </a:gradFill>
                  <a:ln w="9525" cap="flat">
                    <a:noFill/>
                    <a:prstDash val="solid"/>
                    <a:miter/>
                  </a:ln>
                </p:spPr>
                <p:txBody>
                  <a:bodyPr rtlCol="0" anchor="ctr"/>
                  <a:lstStyle/>
                  <a:p>
                    <a:endParaRPr lang="zh-CN" altLang="en-US"/>
                  </a:p>
                </p:txBody>
              </p:sp>
              <p:sp>
                <p:nvSpPr>
                  <p:cNvPr id="62" name="任意多边形: 形状 61"/>
                  <p:cNvSpPr/>
                  <p:nvPr/>
                </p:nvSpPr>
                <p:spPr>
                  <a:xfrm>
                    <a:off x="6643290" y="1321528"/>
                    <a:ext cx="294066" cy="196044"/>
                  </a:xfrm>
                  <a:custGeom>
                    <a:avLst/>
                    <a:gdLst>
                      <a:gd name="connsiteX0" fmla="*/ 0 w 171450"/>
                      <a:gd name="connsiteY0" fmla="*/ 0 h 114300"/>
                      <a:gd name="connsiteX1" fmla="*/ 114300 w 171450"/>
                      <a:gd name="connsiteY1" fmla="*/ 114300 h 114300"/>
                      <a:gd name="connsiteX2" fmla="*/ 171450 w 171450"/>
                      <a:gd name="connsiteY2" fmla="*/ 114300 h 114300"/>
                      <a:gd name="connsiteX3" fmla="*/ 57150 w 171450"/>
                      <a:gd name="connsiteY3" fmla="*/ 0 h 114300"/>
                    </a:gdLst>
                    <a:ahLst/>
                    <a:cxnLst>
                      <a:cxn ang="0">
                        <a:pos x="connsiteX0" y="connsiteY0"/>
                      </a:cxn>
                      <a:cxn ang="0">
                        <a:pos x="connsiteX1" y="connsiteY1"/>
                      </a:cxn>
                      <a:cxn ang="0">
                        <a:pos x="connsiteX2" y="connsiteY2"/>
                      </a:cxn>
                      <a:cxn ang="0">
                        <a:pos x="connsiteX3" y="connsiteY3"/>
                      </a:cxn>
                    </a:cxnLst>
                    <a:rect l="l" t="t" r="r" b="b"/>
                    <a:pathLst>
                      <a:path w="171450" h="114300">
                        <a:moveTo>
                          <a:pt x="0" y="0"/>
                        </a:moveTo>
                        <a:lnTo>
                          <a:pt x="114300" y="114300"/>
                        </a:lnTo>
                        <a:lnTo>
                          <a:pt x="171450" y="114300"/>
                        </a:lnTo>
                        <a:lnTo>
                          <a:pt x="57150" y="0"/>
                        </a:lnTo>
                        <a:close/>
                      </a:path>
                    </a:pathLst>
                  </a:custGeom>
                  <a:gradFill flip="none" rotWithShape="1">
                    <a:gsLst>
                      <a:gs pos="15000">
                        <a:schemeClr val="accent2"/>
                      </a:gs>
                      <a:gs pos="100000">
                        <a:schemeClr val="accent1">
                          <a:lumMod val="75000"/>
                          <a:alpha val="0"/>
                        </a:schemeClr>
                      </a:gs>
                    </a:gsLst>
                    <a:lin ang="0" scaled="1"/>
                    <a:tileRect/>
                  </a:gradFill>
                  <a:ln w="9525" cap="flat">
                    <a:noFill/>
                    <a:prstDash val="solid"/>
                    <a:miter/>
                  </a:ln>
                </p:spPr>
                <p:txBody>
                  <a:bodyPr rtlCol="0" anchor="ctr"/>
                  <a:lstStyle/>
                  <a:p>
                    <a:endParaRPr lang="zh-CN" altLang="en-US"/>
                  </a:p>
                </p:txBody>
              </p:sp>
              <p:sp>
                <p:nvSpPr>
                  <p:cNvPr id="63" name="任意多边形: 形状 62"/>
                  <p:cNvSpPr/>
                  <p:nvPr/>
                </p:nvSpPr>
                <p:spPr>
                  <a:xfrm>
                    <a:off x="6479920" y="1321528"/>
                    <a:ext cx="294066" cy="196044"/>
                  </a:xfrm>
                  <a:custGeom>
                    <a:avLst/>
                    <a:gdLst>
                      <a:gd name="connsiteX0" fmla="*/ 0 w 171450"/>
                      <a:gd name="connsiteY0" fmla="*/ 0 h 114300"/>
                      <a:gd name="connsiteX1" fmla="*/ 114300 w 171450"/>
                      <a:gd name="connsiteY1" fmla="*/ 114300 h 114300"/>
                      <a:gd name="connsiteX2" fmla="*/ 171450 w 171450"/>
                      <a:gd name="connsiteY2" fmla="*/ 114300 h 114300"/>
                      <a:gd name="connsiteX3" fmla="*/ 57150 w 171450"/>
                      <a:gd name="connsiteY3" fmla="*/ 0 h 114300"/>
                    </a:gdLst>
                    <a:ahLst/>
                    <a:cxnLst>
                      <a:cxn ang="0">
                        <a:pos x="connsiteX0" y="connsiteY0"/>
                      </a:cxn>
                      <a:cxn ang="0">
                        <a:pos x="connsiteX1" y="connsiteY1"/>
                      </a:cxn>
                      <a:cxn ang="0">
                        <a:pos x="connsiteX2" y="connsiteY2"/>
                      </a:cxn>
                      <a:cxn ang="0">
                        <a:pos x="connsiteX3" y="connsiteY3"/>
                      </a:cxn>
                    </a:cxnLst>
                    <a:rect l="l" t="t" r="r" b="b"/>
                    <a:pathLst>
                      <a:path w="171450" h="114300">
                        <a:moveTo>
                          <a:pt x="0" y="0"/>
                        </a:moveTo>
                        <a:lnTo>
                          <a:pt x="114300" y="114300"/>
                        </a:lnTo>
                        <a:lnTo>
                          <a:pt x="171450" y="114300"/>
                        </a:lnTo>
                        <a:lnTo>
                          <a:pt x="57150" y="0"/>
                        </a:lnTo>
                        <a:close/>
                      </a:path>
                    </a:pathLst>
                  </a:custGeom>
                  <a:gradFill flip="none" rotWithShape="1">
                    <a:gsLst>
                      <a:gs pos="15000">
                        <a:schemeClr val="accent2"/>
                      </a:gs>
                      <a:gs pos="100000">
                        <a:schemeClr val="accent1">
                          <a:lumMod val="75000"/>
                          <a:alpha val="0"/>
                        </a:schemeClr>
                      </a:gs>
                    </a:gsLst>
                    <a:lin ang="0" scaled="1"/>
                    <a:tileRect/>
                  </a:gradFill>
                  <a:ln w="9525" cap="flat">
                    <a:noFill/>
                    <a:prstDash val="solid"/>
                    <a:miter/>
                  </a:ln>
                </p:spPr>
                <p:txBody>
                  <a:bodyPr rtlCol="0" anchor="ctr"/>
                  <a:lstStyle/>
                  <a:p>
                    <a:endParaRPr lang="zh-CN" altLang="en-US"/>
                  </a:p>
                </p:txBody>
              </p:sp>
              <p:sp>
                <p:nvSpPr>
                  <p:cNvPr id="64" name="任意多边形: 形状 63"/>
                  <p:cNvSpPr/>
                  <p:nvPr/>
                </p:nvSpPr>
                <p:spPr>
                  <a:xfrm>
                    <a:off x="6316550" y="1321528"/>
                    <a:ext cx="294066" cy="196044"/>
                  </a:xfrm>
                  <a:custGeom>
                    <a:avLst/>
                    <a:gdLst>
                      <a:gd name="connsiteX0" fmla="*/ 0 w 171450"/>
                      <a:gd name="connsiteY0" fmla="*/ 0 h 114300"/>
                      <a:gd name="connsiteX1" fmla="*/ 114300 w 171450"/>
                      <a:gd name="connsiteY1" fmla="*/ 114300 h 114300"/>
                      <a:gd name="connsiteX2" fmla="*/ 171450 w 171450"/>
                      <a:gd name="connsiteY2" fmla="*/ 114300 h 114300"/>
                      <a:gd name="connsiteX3" fmla="*/ 57150 w 171450"/>
                      <a:gd name="connsiteY3" fmla="*/ 0 h 114300"/>
                    </a:gdLst>
                    <a:ahLst/>
                    <a:cxnLst>
                      <a:cxn ang="0">
                        <a:pos x="connsiteX0" y="connsiteY0"/>
                      </a:cxn>
                      <a:cxn ang="0">
                        <a:pos x="connsiteX1" y="connsiteY1"/>
                      </a:cxn>
                      <a:cxn ang="0">
                        <a:pos x="connsiteX2" y="connsiteY2"/>
                      </a:cxn>
                      <a:cxn ang="0">
                        <a:pos x="connsiteX3" y="connsiteY3"/>
                      </a:cxn>
                    </a:cxnLst>
                    <a:rect l="l" t="t" r="r" b="b"/>
                    <a:pathLst>
                      <a:path w="171450" h="114300">
                        <a:moveTo>
                          <a:pt x="0" y="0"/>
                        </a:moveTo>
                        <a:lnTo>
                          <a:pt x="114300" y="114300"/>
                        </a:lnTo>
                        <a:lnTo>
                          <a:pt x="171450" y="114300"/>
                        </a:lnTo>
                        <a:lnTo>
                          <a:pt x="57150" y="0"/>
                        </a:lnTo>
                        <a:close/>
                      </a:path>
                    </a:pathLst>
                  </a:custGeom>
                  <a:gradFill flip="none" rotWithShape="1">
                    <a:gsLst>
                      <a:gs pos="15000">
                        <a:schemeClr val="accent2"/>
                      </a:gs>
                      <a:gs pos="100000">
                        <a:schemeClr val="accent1">
                          <a:lumMod val="75000"/>
                          <a:alpha val="0"/>
                        </a:schemeClr>
                      </a:gs>
                    </a:gsLst>
                    <a:lin ang="0" scaled="1"/>
                    <a:tileRect/>
                  </a:gradFill>
                  <a:ln w="9525" cap="flat">
                    <a:noFill/>
                    <a:prstDash val="solid"/>
                    <a:miter/>
                  </a:ln>
                </p:spPr>
                <p:txBody>
                  <a:bodyPr rtlCol="0" anchor="ctr"/>
                  <a:lstStyle/>
                  <a:p>
                    <a:endParaRPr lang="zh-CN" altLang="en-US"/>
                  </a:p>
                </p:txBody>
              </p:sp>
              <p:sp>
                <p:nvSpPr>
                  <p:cNvPr id="65" name="任意多边形: 形状 64"/>
                  <p:cNvSpPr/>
                  <p:nvPr/>
                </p:nvSpPr>
                <p:spPr>
                  <a:xfrm>
                    <a:off x="6153180" y="1321528"/>
                    <a:ext cx="294066" cy="196044"/>
                  </a:xfrm>
                  <a:custGeom>
                    <a:avLst/>
                    <a:gdLst>
                      <a:gd name="connsiteX0" fmla="*/ 0 w 171450"/>
                      <a:gd name="connsiteY0" fmla="*/ 0 h 114300"/>
                      <a:gd name="connsiteX1" fmla="*/ 114300 w 171450"/>
                      <a:gd name="connsiteY1" fmla="*/ 114300 h 114300"/>
                      <a:gd name="connsiteX2" fmla="*/ 171450 w 171450"/>
                      <a:gd name="connsiteY2" fmla="*/ 114300 h 114300"/>
                      <a:gd name="connsiteX3" fmla="*/ 57150 w 171450"/>
                      <a:gd name="connsiteY3" fmla="*/ 0 h 114300"/>
                    </a:gdLst>
                    <a:ahLst/>
                    <a:cxnLst>
                      <a:cxn ang="0">
                        <a:pos x="connsiteX0" y="connsiteY0"/>
                      </a:cxn>
                      <a:cxn ang="0">
                        <a:pos x="connsiteX1" y="connsiteY1"/>
                      </a:cxn>
                      <a:cxn ang="0">
                        <a:pos x="connsiteX2" y="connsiteY2"/>
                      </a:cxn>
                      <a:cxn ang="0">
                        <a:pos x="connsiteX3" y="connsiteY3"/>
                      </a:cxn>
                    </a:cxnLst>
                    <a:rect l="l" t="t" r="r" b="b"/>
                    <a:pathLst>
                      <a:path w="171450" h="114300">
                        <a:moveTo>
                          <a:pt x="0" y="0"/>
                        </a:moveTo>
                        <a:lnTo>
                          <a:pt x="114300" y="114300"/>
                        </a:lnTo>
                        <a:lnTo>
                          <a:pt x="171450" y="114300"/>
                        </a:lnTo>
                        <a:lnTo>
                          <a:pt x="57150" y="0"/>
                        </a:lnTo>
                        <a:close/>
                      </a:path>
                    </a:pathLst>
                  </a:custGeom>
                  <a:gradFill flip="none" rotWithShape="1">
                    <a:gsLst>
                      <a:gs pos="15000">
                        <a:schemeClr val="accent2"/>
                      </a:gs>
                      <a:gs pos="100000">
                        <a:schemeClr val="accent1">
                          <a:lumMod val="75000"/>
                          <a:alpha val="0"/>
                        </a:schemeClr>
                      </a:gs>
                    </a:gsLst>
                    <a:lin ang="0" scaled="1"/>
                    <a:tileRect/>
                  </a:gradFill>
                  <a:ln w="9525" cap="flat">
                    <a:noFill/>
                    <a:prstDash val="solid"/>
                    <a:miter/>
                  </a:ln>
                </p:spPr>
                <p:txBody>
                  <a:bodyPr rtlCol="0" anchor="ctr"/>
                  <a:lstStyle/>
                  <a:p>
                    <a:endParaRPr lang="zh-CN" altLang="en-US"/>
                  </a:p>
                </p:txBody>
              </p:sp>
              <p:sp>
                <p:nvSpPr>
                  <p:cNvPr id="66" name="任意多边形: 形状 65"/>
                  <p:cNvSpPr/>
                  <p:nvPr/>
                </p:nvSpPr>
                <p:spPr>
                  <a:xfrm>
                    <a:off x="5989810" y="1321528"/>
                    <a:ext cx="294066" cy="196044"/>
                  </a:xfrm>
                  <a:custGeom>
                    <a:avLst/>
                    <a:gdLst>
                      <a:gd name="connsiteX0" fmla="*/ 0 w 171450"/>
                      <a:gd name="connsiteY0" fmla="*/ 0 h 114300"/>
                      <a:gd name="connsiteX1" fmla="*/ 114300 w 171450"/>
                      <a:gd name="connsiteY1" fmla="*/ 114300 h 114300"/>
                      <a:gd name="connsiteX2" fmla="*/ 171450 w 171450"/>
                      <a:gd name="connsiteY2" fmla="*/ 114300 h 114300"/>
                      <a:gd name="connsiteX3" fmla="*/ 57150 w 171450"/>
                      <a:gd name="connsiteY3" fmla="*/ 0 h 114300"/>
                    </a:gdLst>
                    <a:ahLst/>
                    <a:cxnLst>
                      <a:cxn ang="0">
                        <a:pos x="connsiteX0" y="connsiteY0"/>
                      </a:cxn>
                      <a:cxn ang="0">
                        <a:pos x="connsiteX1" y="connsiteY1"/>
                      </a:cxn>
                      <a:cxn ang="0">
                        <a:pos x="connsiteX2" y="connsiteY2"/>
                      </a:cxn>
                      <a:cxn ang="0">
                        <a:pos x="connsiteX3" y="connsiteY3"/>
                      </a:cxn>
                    </a:cxnLst>
                    <a:rect l="l" t="t" r="r" b="b"/>
                    <a:pathLst>
                      <a:path w="171450" h="114300">
                        <a:moveTo>
                          <a:pt x="0" y="0"/>
                        </a:moveTo>
                        <a:lnTo>
                          <a:pt x="114300" y="114300"/>
                        </a:lnTo>
                        <a:lnTo>
                          <a:pt x="171450" y="114300"/>
                        </a:lnTo>
                        <a:lnTo>
                          <a:pt x="57150" y="0"/>
                        </a:lnTo>
                        <a:close/>
                      </a:path>
                    </a:pathLst>
                  </a:custGeom>
                  <a:gradFill flip="none" rotWithShape="1">
                    <a:gsLst>
                      <a:gs pos="15000">
                        <a:schemeClr val="accent2"/>
                      </a:gs>
                      <a:gs pos="100000">
                        <a:schemeClr val="accent1">
                          <a:lumMod val="75000"/>
                          <a:alpha val="0"/>
                        </a:schemeClr>
                      </a:gs>
                    </a:gsLst>
                    <a:lin ang="0" scaled="1"/>
                    <a:tileRect/>
                  </a:gradFill>
                  <a:ln w="9525" cap="flat">
                    <a:noFill/>
                    <a:prstDash val="solid"/>
                    <a:miter/>
                  </a:ln>
                </p:spPr>
                <p:txBody>
                  <a:bodyPr rtlCol="0" anchor="ctr"/>
                  <a:lstStyle/>
                  <a:p>
                    <a:endParaRPr lang="zh-CN" altLang="en-US"/>
                  </a:p>
                </p:txBody>
              </p:sp>
            </p:grpSp>
            <p:sp>
              <p:nvSpPr>
                <p:cNvPr id="58" name="任意多边形: 形状 57"/>
                <p:cNvSpPr/>
                <p:nvPr/>
              </p:nvSpPr>
              <p:spPr>
                <a:xfrm>
                  <a:off x="5434352" y="1321528"/>
                  <a:ext cx="686154" cy="196044"/>
                </a:xfrm>
                <a:custGeom>
                  <a:avLst/>
                  <a:gdLst>
                    <a:gd name="connsiteX0" fmla="*/ 400050 w 400050"/>
                    <a:gd name="connsiteY0" fmla="*/ 114300 h 114300"/>
                    <a:gd name="connsiteX1" fmla="*/ 114300 w 400050"/>
                    <a:gd name="connsiteY1" fmla="*/ 114300 h 114300"/>
                    <a:gd name="connsiteX2" fmla="*/ 0 w 400050"/>
                    <a:gd name="connsiteY2" fmla="*/ 0 h 114300"/>
                    <a:gd name="connsiteX3" fmla="*/ 285750 w 400050"/>
                    <a:gd name="connsiteY3" fmla="*/ 0 h 114300"/>
                  </a:gdLst>
                  <a:ahLst/>
                  <a:cxnLst>
                    <a:cxn ang="0">
                      <a:pos x="connsiteX0" y="connsiteY0"/>
                    </a:cxn>
                    <a:cxn ang="0">
                      <a:pos x="connsiteX1" y="connsiteY1"/>
                    </a:cxn>
                    <a:cxn ang="0">
                      <a:pos x="connsiteX2" y="connsiteY2"/>
                    </a:cxn>
                    <a:cxn ang="0">
                      <a:pos x="connsiteX3" y="connsiteY3"/>
                    </a:cxn>
                  </a:cxnLst>
                  <a:rect l="l" t="t" r="r" b="b"/>
                  <a:pathLst>
                    <a:path w="400050" h="114300">
                      <a:moveTo>
                        <a:pt x="400050" y="114300"/>
                      </a:moveTo>
                      <a:lnTo>
                        <a:pt x="114300" y="114300"/>
                      </a:lnTo>
                      <a:lnTo>
                        <a:pt x="0" y="0"/>
                      </a:lnTo>
                      <a:lnTo>
                        <a:pt x="285750" y="0"/>
                      </a:lnTo>
                      <a:close/>
                    </a:path>
                  </a:pathLst>
                </a:custGeom>
                <a:solidFill>
                  <a:schemeClr val="accent2"/>
                </a:solidFill>
                <a:ln w="9525" cap="flat">
                  <a:noFill/>
                  <a:prstDash val="solid"/>
                  <a:miter/>
                </a:ln>
              </p:spPr>
              <p:txBody>
                <a:bodyPr rtlCol="0" anchor="ctr"/>
                <a:lstStyle/>
                <a:p>
                  <a:endParaRPr lang="zh-CN" altLang="en-US"/>
                </a:p>
              </p:txBody>
            </p:sp>
          </p:grpSp>
          <p:grpSp>
            <p:nvGrpSpPr>
              <p:cNvPr id="38" name="组合 37"/>
              <p:cNvGrpSpPr/>
              <p:nvPr/>
            </p:nvGrpSpPr>
            <p:grpSpPr>
              <a:xfrm>
                <a:off x="7770543" y="1272517"/>
                <a:ext cx="1840363" cy="98022"/>
                <a:chOff x="7072312" y="2171700"/>
                <a:chExt cx="1072991" cy="57150"/>
              </a:xfrm>
              <a:gradFill flip="none" rotWithShape="1">
                <a:gsLst>
                  <a:gs pos="0">
                    <a:schemeClr val="accent3"/>
                  </a:gs>
                  <a:gs pos="100000">
                    <a:schemeClr val="accent3">
                      <a:alpha val="0"/>
                    </a:schemeClr>
                  </a:gs>
                </a:gsLst>
                <a:lin ang="10800000" scaled="1"/>
                <a:tileRect/>
              </a:gradFill>
            </p:grpSpPr>
            <p:sp>
              <p:nvSpPr>
                <p:cNvPr id="39" name="任意多边形: 形状 38"/>
                <p:cNvSpPr/>
                <p:nvPr/>
              </p:nvSpPr>
              <p:spPr>
                <a:xfrm>
                  <a:off x="7072312" y="2171700"/>
                  <a:ext cx="85725" cy="57150"/>
                </a:xfrm>
                <a:custGeom>
                  <a:avLst/>
                  <a:gdLst>
                    <a:gd name="connsiteX0" fmla="*/ 57150 w 85725"/>
                    <a:gd name="connsiteY0" fmla="*/ 0 h 57150"/>
                    <a:gd name="connsiteX1" fmla="*/ 0 w 85725"/>
                    <a:gd name="connsiteY1" fmla="*/ 57150 h 57150"/>
                    <a:gd name="connsiteX2" fmla="*/ 28575 w 85725"/>
                    <a:gd name="connsiteY2" fmla="*/ 57150 h 57150"/>
                    <a:gd name="connsiteX3" fmla="*/ 85725 w 85725"/>
                    <a:gd name="connsiteY3" fmla="*/ 0 h 57150"/>
                  </a:gdLst>
                  <a:ahLst/>
                  <a:cxnLst>
                    <a:cxn ang="0">
                      <a:pos x="connsiteX0" y="connsiteY0"/>
                    </a:cxn>
                    <a:cxn ang="0">
                      <a:pos x="connsiteX1" y="connsiteY1"/>
                    </a:cxn>
                    <a:cxn ang="0">
                      <a:pos x="connsiteX2" y="connsiteY2"/>
                    </a:cxn>
                    <a:cxn ang="0">
                      <a:pos x="connsiteX3" y="connsiteY3"/>
                    </a:cxn>
                  </a:cxnLst>
                  <a:rect l="l" t="t" r="r" b="b"/>
                  <a:pathLst>
                    <a:path w="85725" h="57150">
                      <a:moveTo>
                        <a:pt x="57150" y="0"/>
                      </a:moveTo>
                      <a:lnTo>
                        <a:pt x="0" y="57150"/>
                      </a:lnTo>
                      <a:lnTo>
                        <a:pt x="28575" y="57150"/>
                      </a:lnTo>
                      <a:lnTo>
                        <a:pt x="85725" y="0"/>
                      </a:lnTo>
                      <a:close/>
                    </a:path>
                  </a:pathLst>
                </a:custGeom>
                <a:grpFill/>
                <a:ln w="9525" cap="flat">
                  <a:noFill/>
                  <a:prstDash val="solid"/>
                  <a:miter/>
                </a:ln>
              </p:spPr>
              <p:txBody>
                <a:bodyPr rtlCol="0" anchor="ctr"/>
                <a:lstStyle/>
                <a:p>
                  <a:endParaRPr lang="zh-CN" altLang="en-US"/>
                </a:p>
              </p:txBody>
            </p:sp>
            <p:sp>
              <p:nvSpPr>
                <p:cNvPr id="40" name="任意多边形: 形状 39"/>
                <p:cNvSpPr/>
                <p:nvPr/>
              </p:nvSpPr>
              <p:spPr>
                <a:xfrm>
                  <a:off x="7134034" y="2171700"/>
                  <a:ext cx="85725" cy="57150"/>
                </a:xfrm>
                <a:custGeom>
                  <a:avLst/>
                  <a:gdLst>
                    <a:gd name="connsiteX0" fmla="*/ 57150 w 85725"/>
                    <a:gd name="connsiteY0" fmla="*/ 0 h 57150"/>
                    <a:gd name="connsiteX1" fmla="*/ 0 w 85725"/>
                    <a:gd name="connsiteY1" fmla="*/ 57150 h 57150"/>
                    <a:gd name="connsiteX2" fmla="*/ 28575 w 85725"/>
                    <a:gd name="connsiteY2" fmla="*/ 57150 h 57150"/>
                    <a:gd name="connsiteX3" fmla="*/ 85725 w 85725"/>
                    <a:gd name="connsiteY3" fmla="*/ 0 h 57150"/>
                  </a:gdLst>
                  <a:ahLst/>
                  <a:cxnLst>
                    <a:cxn ang="0">
                      <a:pos x="connsiteX0" y="connsiteY0"/>
                    </a:cxn>
                    <a:cxn ang="0">
                      <a:pos x="connsiteX1" y="connsiteY1"/>
                    </a:cxn>
                    <a:cxn ang="0">
                      <a:pos x="connsiteX2" y="connsiteY2"/>
                    </a:cxn>
                    <a:cxn ang="0">
                      <a:pos x="connsiteX3" y="connsiteY3"/>
                    </a:cxn>
                  </a:cxnLst>
                  <a:rect l="l" t="t" r="r" b="b"/>
                  <a:pathLst>
                    <a:path w="85725" h="57150">
                      <a:moveTo>
                        <a:pt x="57150" y="0"/>
                      </a:moveTo>
                      <a:lnTo>
                        <a:pt x="0" y="57150"/>
                      </a:lnTo>
                      <a:lnTo>
                        <a:pt x="28575" y="57150"/>
                      </a:lnTo>
                      <a:lnTo>
                        <a:pt x="85725" y="0"/>
                      </a:lnTo>
                      <a:close/>
                    </a:path>
                  </a:pathLst>
                </a:custGeom>
                <a:grpFill/>
                <a:ln w="9525" cap="flat">
                  <a:noFill/>
                  <a:prstDash val="solid"/>
                  <a:miter/>
                </a:ln>
              </p:spPr>
              <p:txBody>
                <a:bodyPr rtlCol="0" anchor="ctr"/>
                <a:lstStyle/>
                <a:p>
                  <a:endParaRPr lang="zh-CN" altLang="en-US"/>
                </a:p>
              </p:txBody>
            </p:sp>
            <p:sp>
              <p:nvSpPr>
                <p:cNvPr id="41" name="任意多边形: 形状 40"/>
                <p:cNvSpPr/>
                <p:nvPr/>
              </p:nvSpPr>
              <p:spPr>
                <a:xfrm>
                  <a:off x="7195755" y="2171700"/>
                  <a:ext cx="85725" cy="57150"/>
                </a:xfrm>
                <a:custGeom>
                  <a:avLst/>
                  <a:gdLst>
                    <a:gd name="connsiteX0" fmla="*/ 57150 w 85725"/>
                    <a:gd name="connsiteY0" fmla="*/ 0 h 57150"/>
                    <a:gd name="connsiteX1" fmla="*/ 0 w 85725"/>
                    <a:gd name="connsiteY1" fmla="*/ 57150 h 57150"/>
                    <a:gd name="connsiteX2" fmla="*/ 28575 w 85725"/>
                    <a:gd name="connsiteY2" fmla="*/ 57150 h 57150"/>
                    <a:gd name="connsiteX3" fmla="*/ 85725 w 85725"/>
                    <a:gd name="connsiteY3" fmla="*/ 0 h 57150"/>
                  </a:gdLst>
                  <a:ahLst/>
                  <a:cxnLst>
                    <a:cxn ang="0">
                      <a:pos x="connsiteX0" y="connsiteY0"/>
                    </a:cxn>
                    <a:cxn ang="0">
                      <a:pos x="connsiteX1" y="connsiteY1"/>
                    </a:cxn>
                    <a:cxn ang="0">
                      <a:pos x="connsiteX2" y="connsiteY2"/>
                    </a:cxn>
                    <a:cxn ang="0">
                      <a:pos x="connsiteX3" y="connsiteY3"/>
                    </a:cxn>
                  </a:cxnLst>
                  <a:rect l="l" t="t" r="r" b="b"/>
                  <a:pathLst>
                    <a:path w="85725" h="57150">
                      <a:moveTo>
                        <a:pt x="57150" y="0"/>
                      </a:moveTo>
                      <a:lnTo>
                        <a:pt x="0" y="57150"/>
                      </a:lnTo>
                      <a:lnTo>
                        <a:pt x="28575" y="57150"/>
                      </a:lnTo>
                      <a:lnTo>
                        <a:pt x="85725" y="0"/>
                      </a:lnTo>
                      <a:close/>
                    </a:path>
                  </a:pathLst>
                </a:custGeom>
                <a:grpFill/>
                <a:ln w="9525" cap="flat">
                  <a:noFill/>
                  <a:prstDash val="solid"/>
                  <a:miter/>
                </a:ln>
              </p:spPr>
              <p:txBody>
                <a:bodyPr rtlCol="0" anchor="ctr"/>
                <a:lstStyle/>
                <a:p>
                  <a:endParaRPr lang="zh-CN" altLang="en-US"/>
                </a:p>
              </p:txBody>
            </p:sp>
            <p:sp>
              <p:nvSpPr>
                <p:cNvPr id="42" name="任意多边形: 形状 41"/>
                <p:cNvSpPr/>
                <p:nvPr/>
              </p:nvSpPr>
              <p:spPr>
                <a:xfrm>
                  <a:off x="7257382" y="2171700"/>
                  <a:ext cx="85725" cy="57150"/>
                </a:xfrm>
                <a:custGeom>
                  <a:avLst/>
                  <a:gdLst>
                    <a:gd name="connsiteX0" fmla="*/ 57150 w 85725"/>
                    <a:gd name="connsiteY0" fmla="*/ 0 h 57150"/>
                    <a:gd name="connsiteX1" fmla="*/ 0 w 85725"/>
                    <a:gd name="connsiteY1" fmla="*/ 57150 h 57150"/>
                    <a:gd name="connsiteX2" fmla="*/ 28575 w 85725"/>
                    <a:gd name="connsiteY2" fmla="*/ 57150 h 57150"/>
                    <a:gd name="connsiteX3" fmla="*/ 85725 w 85725"/>
                    <a:gd name="connsiteY3" fmla="*/ 0 h 57150"/>
                  </a:gdLst>
                  <a:ahLst/>
                  <a:cxnLst>
                    <a:cxn ang="0">
                      <a:pos x="connsiteX0" y="connsiteY0"/>
                    </a:cxn>
                    <a:cxn ang="0">
                      <a:pos x="connsiteX1" y="connsiteY1"/>
                    </a:cxn>
                    <a:cxn ang="0">
                      <a:pos x="connsiteX2" y="connsiteY2"/>
                    </a:cxn>
                    <a:cxn ang="0">
                      <a:pos x="connsiteX3" y="connsiteY3"/>
                    </a:cxn>
                  </a:cxnLst>
                  <a:rect l="l" t="t" r="r" b="b"/>
                  <a:pathLst>
                    <a:path w="85725" h="57150">
                      <a:moveTo>
                        <a:pt x="57150" y="0"/>
                      </a:moveTo>
                      <a:lnTo>
                        <a:pt x="0" y="57150"/>
                      </a:lnTo>
                      <a:lnTo>
                        <a:pt x="28575" y="57150"/>
                      </a:lnTo>
                      <a:lnTo>
                        <a:pt x="85725" y="0"/>
                      </a:lnTo>
                      <a:close/>
                    </a:path>
                  </a:pathLst>
                </a:custGeom>
                <a:grpFill/>
                <a:ln w="9525" cap="flat">
                  <a:noFill/>
                  <a:prstDash val="solid"/>
                  <a:miter/>
                </a:ln>
              </p:spPr>
              <p:txBody>
                <a:bodyPr rtlCol="0" anchor="ctr"/>
                <a:lstStyle/>
                <a:p>
                  <a:endParaRPr lang="zh-CN" altLang="en-US"/>
                </a:p>
              </p:txBody>
            </p:sp>
            <p:sp>
              <p:nvSpPr>
                <p:cNvPr id="43" name="任意多边形: 形状 42"/>
                <p:cNvSpPr/>
                <p:nvPr/>
              </p:nvSpPr>
              <p:spPr>
                <a:xfrm>
                  <a:off x="7319104" y="2171700"/>
                  <a:ext cx="85725" cy="57150"/>
                </a:xfrm>
                <a:custGeom>
                  <a:avLst/>
                  <a:gdLst>
                    <a:gd name="connsiteX0" fmla="*/ 57150 w 85725"/>
                    <a:gd name="connsiteY0" fmla="*/ 0 h 57150"/>
                    <a:gd name="connsiteX1" fmla="*/ 0 w 85725"/>
                    <a:gd name="connsiteY1" fmla="*/ 57150 h 57150"/>
                    <a:gd name="connsiteX2" fmla="*/ 28575 w 85725"/>
                    <a:gd name="connsiteY2" fmla="*/ 57150 h 57150"/>
                    <a:gd name="connsiteX3" fmla="*/ 85725 w 85725"/>
                    <a:gd name="connsiteY3" fmla="*/ 0 h 57150"/>
                  </a:gdLst>
                  <a:ahLst/>
                  <a:cxnLst>
                    <a:cxn ang="0">
                      <a:pos x="connsiteX0" y="connsiteY0"/>
                    </a:cxn>
                    <a:cxn ang="0">
                      <a:pos x="connsiteX1" y="connsiteY1"/>
                    </a:cxn>
                    <a:cxn ang="0">
                      <a:pos x="connsiteX2" y="connsiteY2"/>
                    </a:cxn>
                    <a:cxn ang="0">
                      <a:pos x="connsiteX3" y="connsiteY3"/>
                    </a:cxn>
                  </a:cxnLst>
                  <a:rect l="l" t="t" r="r" b="b"/>
                  <a:pathLst>
                    <a:path w="85725" h="57150">
                      <a:moveTo>
                        <a:pt x="57150" y="0"/>
                      </a:moveTo>
                      <a:lnTo>
                        <a:pt x="0" y="57150"/>
                      </a:lnTo>
                      <a:lnTo>
                        <a:pt x="28575" y="57150"/>
                      </a:lnTo>
                      <a:lnTo>
                        <a:pt x="85725" y="0"/>
                      </a:lnTo>
                      <a:close/>
                    </a:path>
                  </a:pathLst>
                </a:custGeom>
                <a:grpFill/>
                <a:ln w="9525" cap="flat">
                  <a:noFill/>
                  <a:prstDash val="solid"/>
                  <a:miter/>
                </a:ln>
              </p:spPr>
              <p:txBody>
                <a:bodyPr rtlCol="0" anchor="ctr"/>
                <a:lstStyle/>
                <a:p>
                  <a:endParaRPr lang="zh-CN" altLang="en-US"/>
                </a:p>
              </p:txBody>
            </p:sp>
            <p:sp>
              <p:nvSpPr>
                <p:cNvPr id="44" name="任意多边形: 形状 43"/>
                <p:cNvSpPr/>
                <p:nvPr/>
              </p:nvSpPr>
              <p:spPr>
                <a:xfrm>
                  <a:off x="7380826" y="2171700"/>
                  <a:ext cx="85725" cy="57150"/>
                </a:xfrm>
                <a:custGeom>
                  <a:avLst/>
                  <a:gdLst>
                    <a:gd name="connsiteX0" fmla="*/ 57150 w 85725"/>
                    <a:gd name="connsiteY0" fmla="*/ 0 h 57150"/>
                    <a:gd name="connsiteX1" fmla="*/ 0 w 85725"/>
                    <a:gd name="connsiteY1" fmla="*/ 57150 h 57150"/>
                    <a:gd name="connsiteX2" fmla="*/ 28575 w 85725"/>
                    <a:gd name="connsiteY2" fmla="*/ 57150 h 57150"/>
                    <a:gd name="connsiteX3" fmla="*/ 85725 w 85725"/>
                    <a:gd name="connsiteY3" fmla="*/ 0 h 57150"/>
                  </a:gdLst>
                  <a:ahLst/>
                  <a:cxnLst>
                    <a:cxn ang="0">
                      <a:pos x="connsiteX0" y="connsiteY0"/>
                    </a:cxn>
                    <a:cxn ang="0">
                      <a:pos x="connsiteX1" y="connsiteY1"/>
                    </a:cxn>
                    <a:cxn ang="0">
                      <a:pos x="connsiteX2" y="connsiteY2"/>
                    </a:cxn>
                    <a:cxn ang="0">
                      <a:pos x="connsiteX3" y="connsiteY3"/>
                    </a:cxn>
                  </a:cxnLst>
                  <a:rect l="l" t="t" r="r" b="b"/>
                  <a:pathLst>
                    <a:path w="85725" h="57150">
                      <a:moveTo>
                        <a:pt x="57150" y="0"/>
                      </a:moveTo>
                      <a:lnTo>
                        <a:pt x="0" y="57150"/>
                      </a:lnTo>
                      <a:lnTo>
                        <a:pt x="28575" y="57150"/>
                      </a:lnTo>
                      <a:lnTo>
                        <a:pt x="85725" y="0"/>
                      </a:lnTo>
                      <a:close/>
                    </a:path>
                  </a:pathLst>
                </a:custGeom>
                <a:grpFill/>
                <a:ln w="9525" cap="flat">
                  <a:noFill/>
                  <a:prstDash val="solid"/>
                  <a:miter/>
                </a:ln>
              </p:spPr>
              <p:txBody>
                <a:bodyPr rtlCol="0" anchor="ctr"/>
                <a:lstStyle/>
                <a:p>
                  <a:endParaRPr lang="zh-CN" altLang="en-US"/>
                </a:p>
              </p:txBody>
            </p:sp>
            <p:sp>
              <p:nvSpPr>
                <p:cNvPr id="45" name="任意多边形: 形状 44"/>
                <p:cNvSpPr/>
                <p:nvPr/>
              </p:nvSpPr>
              <p:spPr>
                <a:xfrm>
                  <a:off x="7442548" y="2171700"/>
                  <a:ext cx="85725" cy="57150"/>
                </a:xfrm>
                <a:custGeom>
                  <a:avLst/>
                  <a:gdLst>
                    <a:gd name="connsiteX0" fmla="*/ 57150 w 85725"/>
                    <a:gd name="connsiteY0" fmla="*/ 0 h 57150"/>
                    <a:gd name="connsiteX1" fmla="*/ 0 w 85725"/>
                    <a:gd name="connsiteY1" fmla="*/ 57150 h 57150"/>
                    <a:gd name="connsiteX2" fmla="*/ 28575 w 85725"/>
                    <a:gd name="connsiteY2" fmla="*/ 57150 h 57150"/>
                    <a:gd name="connsiteX3" fmla="*/ 85725 w 85725"/>
                    <a:gd name="connsiteY3" fmla="*/ 0 h 57150"/>
                  </a:gdLst>
                  <a:ahLst/>
                  <a:cxnLst>
                    <a:cxn ang="0">
                      <a:pos x="connsiteX0" y="connsiteY0"/>
                    </a:cxn>
                    <a:cxn ang="0">
                      <a:pos x="connsiteX1" y="connsiteY1"/>
                    </a:cxn>
                    <a:cxn ang="0">
                      <a:pos x="connsiteX2" y="connsiteY2"/>
                    </a:cxn>
                    <a:cxn ang="0">
                      <a:pos x="connsiteX3" y="connsiteY3"/>
                    </a:cxn>
                  </a:cxnLst>
                  <a:rect l="l" t="t" r="r" b="b"/>
                  <a:pathLst>
                    <a:path w="85725" h="57150">
                      <a:moveTo>
                        <a:pt x="57150" y="0"/>
                      </a:moveTo>
                      <a:lnTo>
                        <a:pt x="0" y="57150"/>
                      </a:lnTo>
                      <a:lnTo>
                        <a:pt x="28575" y="57150"/>
                      </a:lnTo>
                      <a:lnTo>
                        <a:pt x="85725" y="0"/>
                      </a:lnTo>
                      <a:close/>
                    </a:path>
                  </a:pathLst>
                </a:custGeom>
                <a:grpFill/>
                <a:ln w="9525" cap="flat">
                  <a:noFill/>
                  <a:prstDash val="solid"/>
                  <a:miter/>
                </a:ln>
              </p:spPr>
              <p:txBody>
                <a:bodyPr rtlCol="0" anchor="ctr"/>
                <a:lstStyle/>
                <a:p>
                  <a:endParaRPr lang="zh-CN" altLang="en-US"/>
                </a:p>
              </p:txBody>
            </p:sp>
            <p:sp>
              <p:nvSpPr>
                <p:cNvPr id="46" name="任意多边形: 形状 45"/>
                <p:cNvSpPr/>
                <p:nvPr/>
              </p:nvSpPr>
              <p:spPr>
                <a:xfrm>
                  <a:off x="7504270" y="2171700"/>
                  <a:ext cx="85725" cy="57150"/>
                </a:xfrm>
                <a:custGeom>
                  <a:avLst/>
                  <a:gdLst>
                    <a:gd name="connsiteX0" fmla="*/ 57150 w 85725"/>
                    <a:gd name="connsiteY0" fmla="*/ 0 h 57150"/>
                    <a:gd name="connsiteX1" fmla="*/ 0 w 85725"/>
                    <a:gd name="connsiteY1" fmla="*/ 57150 h 57150"/>
                    <a:gd name="connsiteX2" fmla="*/ 28575 w 85725"/>
                    <a:gd name="connsiteY2" fmla="*/ 57150 h 57150"/>
                    <a:gd name="connsiteX3" fmla="*/ 85725 w 85725"/>
                    <a:gd name="connsiteY3" fmla="*/ 0 h 57150"/>
                  </a:gdLst>
                  <a:ahLst/>
                  <a:cxnLst>
                    <a:cxn ang="0">
                      <a:pos x="connsiteX0" y="connsiteY0"/>
                    </a:cxn>
                    <a:cxn ang="0">
                      <a:pos x="connsiteX1" y="connsiteY1"/>
                    </a:cxn>
                    <a:cxn ang="0">
                      <a:pos x="connsiteX2" y="connsiteY2"/>
                    </a:cxn>
                    <a:cxn ang="0">
                      <a:pos x="connsiteX3" y="connsiteY3"/>
                    </a:cxn>
                  </a:cxnLst>
                  <a:rect l="l" t="t" r="r" b="b"/>
                  <a:pathLst>
                    <a:path w="85725" h="57150">
                      <a:moveTo>
                        <a:pt x="57150" y="0"/>
                      </a:moveTo>
                      <a:lnTo>
                        <a:pt x="0" y="57150"/>
                      </a:lnTo>
                      <a:lnTo>
                        <a:pt x="28575" y="57150"/>
                      </a:lnTo>
                      <a:lnTo>
                        <a:pt x="85725" y="0"/>
                      </a:lnTo>
                      <a:close/>
                    </a:path>
                  </a:pathLst>
                </a:custGeom>
                <a:grpFill/>
                <a:ln w="9525" cap="flat">
                  <a:noFill/>
                  <a:prstDash val="solid"/>
                  <a:miter/>
                </a:ln>
              </p:spPr>
              <p:txBody>
                <a:bodyPr rtlCol="0" anchor="ctr"/>
                <a:lstStyle/>
                <a:p>
                  <a:endParaRPr lang="zh-CN" altLang="en-US"/>
                </a:p>
              </p:txBody>
            </p:sp>
            <p:sp>
              <p:nvSpPr>
                <p:cNvPr id="47" name="任意多边形: 形状 46"/>
                <p:cNvSpPr/>
                <p:nvPr/>
              </p:nvSpPr>
              <p:spPr>
                <a:xfrm>
                  <a:off x="7565992" y="2171700"/>
                  <a:ext cx="85725" cy="57150"/>
                </a:xfrm>
                <a:custGeom>
                  <a:avLst/>
                  <a:gdLst>
                    <a:gd name="connsiteX0" fmla="*/ 57150 w 85725"/>
                    <a:gd name="connsiteY0" fmla="*/ 0 h 57150"/>
                    <a:gd name="connsiteX1" fmla="*/ 0 w 85725"/>
                    <a:gd name="connsiteY1" fmla="*/ 57150 h 57150"/>
                    <a:gd name="connsiteX2" fmla="*/ 28575 w 85725"/>
                    <a:gd name="connsiteY2" fmla="*/ 57150 h 57150"/>
                    <a:gd name="connsiteX3" fmla="*/ 85725 w 85725"/>
                    <a:gd name="connsiteY3" fmla="*/ 0 h 57150"/>
                  </a:gdLst>
                  <a:ahLst/>
                  <a:cxnLst>
                    <a:cxn ang="0">
                      <a:pos x="connsiteX0" y="connsiteY0"/>
                    </a:cxn>
                    <a:cxn ang="0">
                      <a:pos x="connsiteX1" y="connsiteY1"/>
                    </a:cxn>
                    <a:cxn ang="0">
                      <a:pos x="connsiteX2" y="connsiteY2"/>
                    </a:cxn>
                    <a:cxn ang="0">
                      <a:pos x="connsiteX3" y="connsiteY3"/>
                    </a:cxn>
                  </a:cxnLst>
                  <a:rect l="l" t="t" r="r" b="b"/>
                  <a:pathLst>
                    <a:path w="85725" h="57150">
                      <a:moveTo>
                        <a:pt x="57150" y="0"/>
                      </a:moveTo>
                      <a:lnTo>
                        <a:pt x="0" y="57150"/>
                      </a:lnTo>
                      <a:lnTo>
                        <a:pt x="28575" y="57150"/>
                      </a:lnTo>
                      <a:lnTo>
                        <a:pt x="85725" y="0"/>
                      </a:lnTo>
                      <a:close/>
                    </a:path>
                  </a:pathLst>
                </a:custGeom>
                <a:grpFill/>
                <a:ln w="9525" cap="flat">
                  <a:noFill/>
                  <a:prstDash val="solid"/>
                  <a:miter/>
                </a:ln>
              </p:spPr>
              <p:txBody>
                <a:bodyPr rtlCol="0" anchor="ctr"/>
                <a:lstStyle/>
                <a:p>
                  <a:endParaRPr lang="zh-CN" altLang="en-US"/>
                </a:p>
              </p:txBody>
            </p:sp>
            <p:sp>
              <p:nvSpPr>
                <p:cNvPr id="48" name="任意多边形: 形状 47"/>
                <p:cNvSpPr/>
                <p:nvPr/>
              </p:nvSpPr>
              <p:spPr>
                <a:xfrm>
                  <a:off x="7627619" y="2171700"/>
                  <a:ext cx="85725" cy="57150"/>
                </a:xfrm>
                <a:custGeom>
                  <a:avLst/>
                  <a:gdLst>
                    <a:gd name="connsiteX0" fmla="*/ 57150 w 85725"/>
                    <a:gd name="connsiteY0" fmla="*/ 0 h 57150"/>
                    <a:gd name="connsiteX1" fmla="*/ 0 w 85725"/>
                    <a:gd name="connsiteY1" fmla="*/ 57150 h 57150"/>
                    <a:gd name="connsiteX2" fmla="*/ 28575 w 85725"/>
                    <a:gd name="connsiteY2" fmla="*/ 57150 h 57150"/>
                    <a:gd name="connsiteX3" fmla="*/ 85725 w 85725"/>
                    <a:gd name="connsiteY3" fmla="*/ 0 h 57150"/>
                  </a:gdLst>
                  <a:ahLst/>
                  <a:cxnLst>
                    <a:cxn ang="0">
                      <a:pos x="connsiteX0" y="connsiteY0"/>
                    </a:cxn>
                    <a:cxn ang="0">
                      <a:pos x="connsiteX1" y="connsiteY1"/>
                    </a:cxn>
                    <a:cxn ang="0">
                      <a:pos x="connsiteX2" y="connsiteY2"/>
                    </a:cxn>
                    <a:cxn ang="0">
                      <a:pos x="connsiteX3" y="connsiteY3"/>
                    </a:cxn>
                  </a:cxnLst>
                  <a:rect l="l" t="t" r="r" b="b"/>
                  <a:pathLst>
                    <a:path w="85725" h="57150">
                      <a:moveTo>
                        <a:pt x="57150" y="0"/>
                      </a:moveTo>
                      <a:lnTo>
                        <a:pt x="0" y="57150"/>
                      </a:lnTo>
                      <a:lnTo>
                        <a:pt x="28575" y="57150"/>
                      </a:lnTo>
                      <a:lnTo>
                        <a:pt x="85725" y="0"/>
                      </a:lnTo>
                      <a:close/>
                    </a:path>
                  </a:pathLst>
                </a:custGeom>
                <a:grpFill/>
                <a:ln w="9525" cap="flat">
                  <a:noFill/>
                  <a:prstDash val="solid"/>
                  <a:miter/>
                </a:ln>
              </p:spPr>
              <p:txBody>
                <a:bodyPr rtlCol="0" anchor="ctr"/>
                <a:lstStyle/>
                <a:p>
                  <a:endParaRPr lang="zh-CN" altLang="en-US"/>
                </a:p>
              </p:txBody>
            </p:sp>
            <p:sp>
              <p:nvSpPr>
                <p:cNvPr id="49" name="任意多边形: 形状 48"/>
                <p:cNvSpPr/>
                <p:nvPr/>
              </p:nvSpPr>
              <p:spPr>
                <a:xfrm>
                  <a:off x="7689341" y="2171700"/>
                  <a:ext cx="85725" cy="57150"/>
                </a:xfrm>
                <a:custGeom>
                  <a:avLst/>
                  <a:gdLst>
                    <a:gd name="connsiteX0" fmla="*/ 57150 w 85725"/>
                    <a:gd name="connsiteY0" fmla="*/ 0 h 57150"/>
                    <a:gd name="connsiteX1" fmla="*/ 0 w 85725"/>
                    <a:gd name="connsiteY1" fmla="*/ 57150 h 57150"/>
                    <a:gd name="connsiteX2" fmla="*/ 28575 w 85725"/>
                    <a:gd name="connsiteY2" fmla="*/ 57150 h 57150"/>
                    <a:gd name="connsiteX3" fmla="*/ 85725 w 85725"/>
                    <a:gd name="connsiteY3" fmla="*/ 0 h 57150"/>
                  </a:gdLst>
                  <a:ahLst/>
                  <a:cxnLst>
                    <a:cxn ang="0">
                      <a:pos x="connsiteX0" y="connsiteY0"/>
                    </a:cxn>
                    <a:cxn ang="0">
                      <a:pos x="connsiteX1" y="connsiteY1"/>
                    </a:cxn>
                    <a:cxn ang="0">
                      <a:pos x="connsiteX2" y="connsiteY2"/>
                    </a:cxn>
                    <a:cxn ang="0">
                      <a:pos x="connsiteX3" y="connsiteY3"/>
                    </a:cxn>
                  </a:cxnLst>
                  <a:rect l="l" t="t" r="r" b="b"/>
                  <a:pathLst>
                    <a:path w="85725" h="57150">
                      <a:moveTo>
                        <a:pt x="57150" y="0"/>
                      </a:moveTo>
                      <a:lnTo>
                        <a:pt x="0" y="57150"/>
                      </a:lnTo>
                      <a:lnTo>
                        <a:pt x="28575" y="57150"/>
                      </a:lnTo>
                      <a:lnTo>
                        <a:pt x="85725" y="0"/>
                      </a:lnTo>
                      <a:close/>
                    </a:path>
                  </a:pathLst>
                </a:custGeom>
                <a:grpFill/>
                <a:ln w="9525" cap="flat">
                  <a:noFill/>
                  <a:prstDash val="solid"/>
                  <a:miter/>
                </a:ln>
              </p:spPr>
              <p:txBody>
                <a:bodyPr rtlCol="0" anchor="ctr"/>
                <a:lstStyle/>
                <a:p>
                  <a:endParaRPr lang="zh-CN" altLang="en-US"/>
                </a:p>
              </p:txBody>
            </p:sp>
            <p:sp>
              <p:nvSpPr>
                <p:cNvPr id="50" name="任意多边形: 形状 49"/>
                <p:cNvSpPr/>
                <p:nvPr/>
              </p:nvSpPr>
              <p:spPr>
                <a:xfrm>
                  <a:off x="7751063" y="2171700"/>
                  <a:ext cx="85725" cy="57150"/>
                </a:xfrm>
                <a:custGeom>
                  <a:avLst/>
                  <a:gdLst>
                    <a:gd name="connsiteX0" fmla="*/ 57150 w 85725"/>
                    <a:gd name="connsiteY0" fmla="*/ 0 h 57150"/>
                    <a:gd name="connsiteX1" fmla="*/ 0 w 85725"/>
                    <a:gd name="connsiteY1" fmla="*/ 57150 h 57150"/>
                    <a:gd name="connsiteX2" fmla="*/ 28575 w 85725"/>
                    <a:gd name="connsiteY2" fmla="*/ 57150 h 57150"/>
                    <a:gd name="connsiteX3" fmla="*/ 85725 w 85725"/>
                    <a:gd name="connsiteY3" fmla="*/ 0 h 57150"/>
                  </a:gdLst>
                  <a:ahLst/>
                  <a:cxnLst>
                    <a:cxn ang="0">
                      <a:pos x="connsiteX0" y="connsiteY0"/>
                    </a:cxn>
                    <a:cxn ang="0">
                      <a:pos x="connsiteX1" y="connsiteY1"/>
                    </a:cxn>
                    <a:cxn ang="0">
                      <a:pos x="connsiteX2" y="connsiteY2"/>
                    </a:cxn>
                    <a:cxn ang="0">
                      <a:pos x="connsiteX3" y="connsiteY3"/>
                    </a:cxn>
                  </a:cxnLst>
                  <a:rect l="l" t="t" r="r" b="b"/>
                  <a:pathLst>
                    <a:path w="85725" h="57150">
                      <a:moveTo>
                        <a:pt x="57150" y="0"/>
                      </a:moveTo>
                      <a:lnTo>
                        <a:pt x="0" y="57150"/>
                      </a:lnTo>
                      <a:lnTo>
                        <a:pt x="28575" y="57150"/>
                      </a:lnTo>
                      <a:lnTo>
                        <a:pt x="85725" y="0"/>
                      </a:lnTo>
                      <a:close/>
                    </a:path>
                  </a:pathLst>
                </a:custGeom>
                <a:grpFill/>
                <a:ln w="9525" cap="flat">
                  <a:noFill/>
                  <a:prstDash val="solid"/>
                  <a:miter/>
                </a:ln>
              </p:spPr>
              <p:txBody>
                <a:bodyPr rtlCol="0" anchor="ctr"/>
                <a:lstStyle/>
                <a:p>
                  <a:endParaRPr lang="zh-CN" altLang="en-US"/>
                </a:p>
              </p:txBody>
            </p:sp>
            <p:sp>
              <p:nvSpPr>
                <p:cNvPr id="51" name="任意多边形: 形状 50"/>
                <p:cNvSpPr/>
                <p:nvPr/>
              </p:nvSpPr>
              <p:spPr>
                <a:xfrm>
                  <a:off x="7812785" y="2171700"/>
                  <a:ext cx="85725" cy="57150"/>
                </a:xfrm>
                <a:custGeom>
                  <a:avLst/>
                  <a:gdLst>
                    <a:gd name="connsiteX0" fmla="*/ 57150 w 85725"/>
                    <a:gd name="connsiteY0" fmla="*/ 0 h 57150"/>
                    <a:gd name="connsiteX1" fmla="*/ 0 w 85725"/>
                    <a:gd name="connsiteY1" fmla="*/ 57150 h 57150"/>
                    <a:gd name="connsiteX2" fmla="*/ 28575 w 85725"/>
                    <a:gd name="connsiteY2" fmla="*/ 57150 h 57150"/>
                    <a:gd name="connsiteX3" fmla="*/ 85725 w 85725"/>
                    <a:gd name="connsiteY3" fmla="*/ 0 h 57150"/>
                  </a:gdLst>
                  <a:ahLst/>
                  <a:cxnLst>
                    <a:cxn ang="0">
                      <a:pos x="connsiteX0" y="connsiteY0"/>
                    </a:cxn>
                    <a:cxn ang="0">
                      <a:pos x="connsiteX1" y="connsiteY1"/>
                    </a:cxn>
                    <a:cxn ang="0">
                      <a:pos x="connsiteX2" y="connsiteY2"/>
                    </a:cxn>
                    <a:cxn ang="0">
                      <a:pos x="connsiteX3" y="connsiteY3"/>
                    </a:cxn>
                  </a:cxnLst>
                  <a:rect l="l" t="t" r="r" b="b"/>
                  <a:pathLst>
                    <a:path w="85725" h="57150">
                      <a:moveTo>
                        <a:pt x="57150" y="0"/>
                      </a:moveTo>
                      <a:lnTo>
                        <a:pt x="0" y="57150"/>
                      </a:lnTo>
                      <a:lnTo>
                        <a:pt x="28575" y="57150"/>
                      </a:lnTo>
                      <a:lnTo>
                        <a:pt x="85725" y="0"/>
                      </a:lnTo>
                      <a:close/>
                    </a:path>
                  </a:pathLst>
                </a:custGeom>
                <a:grpFill/>
                <a:ln w="9525" cap="flat">
                  <a:noFill/>
                  <a:prstDash val="solid"/>
                  <a:miter/>
                </a:ln>
              </p:spPr>
              <p:txBody>
                <a:bodyPr rtlCol="0" anchor="ctr"/>
                <a:lstStyle/>
                <a:p>
                  <a:endParaRPr lang="zh-CN" altLang="en-US"/>
                </a:p>
              </p:txBody>
            </p:sp>
            <p:sp>
              <p:nvSpPr>
                <p:cNvPr id="52" name="任意多边形: 形状 51"/>
                <p:cNvSpPr/>
                <p:nvPr/>
              </p:nvSpPr>
              <p:spPr>
                <a:xfrm>
                  <a:off x="7874507" y="2171700"/>
                  <a:ext cx="85725" cy="57150"/>
                </a:xfrm>
                <a:custGeom>
                  <a:avLst/>
                  <a:gdLst>
                    <a:gd name="connsiteX0" fmla="*/ 57150 w 85725"/>
                    <a:gd name="connsiteY0" fmla="*/ 0 h 57150"/>
                    <a:gd name="connsiteX1" fmla="*/ 0 w 85725"/>
                    <a:gd name="connsiteY1" fmla="*/ 57150 h 57150"/>
                    <a:gd name="connsiteX2" fmla="*/ 28575 w 85725"/>
                    <a:gd name="connsiteY2" fmla="*/ 57150 h 57150"/>
                    <a:gd name="connsiteX3" fmla="*/ 85725 w 85725"/>
                    <a:gd name="connsiteY3" fmla="*/ 0 h 57150"/>
                  </a:gdLst>
                  <a:ahLst/>
                  <a:cxnLst>
                    <a:cxn ang="0">
                      <a:pos x="connsiteX0" y="connsiteY0"/>
                    </a:cxn>
                    <a:cxn ang="0">
                      <a:pos x="connsiteX1" y="connsiteY1"/>
                    </a:cxn>
                    <a:cxn ang="0">
                      <a:pos x="connsiteX2" y="connsiteY2"/>
                    </a:cxn>
                    <a:cxn ang="0">
                      <a:pos x="connsiteX3" y="connsiteY3"/>
                    </a:cxn>
                  </a:cxnLst>
                  <a:rect l="l" t="t" r="r" b="b"/>
                  <a:pathLst>
                    <a:path w="85725" h="57150">
                      <a:moveTo>
                        <a:pt x="57150" y="0"/>
                      </a:moveTo>
                      <a:lnTo>
                        <a:pt x="0" y="57150"/>
                      </a:lnTo>
                      <a:lnTo>
                        <a:pt x="28575" y="57150"/>
                      </a:lnTo>
                      <a:lnTo>
                        <a:pt x="85725" y="0"/>
                      </a:lnTo>
                      <a:close/>
                    </a:path>
                  </a:pathLst>
                </a:custGeom>
                <a:grpFill/>
                <a:ln w="9525" cap="flat">
                  <a:noFill/>
                  <a:prstDash val="solid"/>
                  <a:miter/>
                </a:ln>
              </p:spPr>
              <p:txBody>
                <a:bodyPr rtlCol="0" anchor="ctr"/>
                <a:lstStyle/>
                <a:p>
                  <a:endParaRPr lang="zh-CN" altLang="en-US"/>
                </a:p>
              </p:txBody>
            </p:sp>
            <p:sp>
              <p:nvSpPr>
                <p:cNvPr id="53" name="任意多边形: 形状 52"/>
                <p:cNvSpPr/>
                <p:nvPr/>
              </p:nvSpPr>
              <p:spPr>
                <a:xfrm>
                  <a:off x="7936229" y="2171700"/>
                  <a:ext cx="85725" cy="57150"/>
                </a:xfrm>
                <a:custGeom>
                  <a:avLst/>
                  <a:gdLst>
                    <a:gd name="connsiteX0" fmla="*/ 57150 w 85725"/>
                    <a:gd name="connsiteY0" fmla="*/ 0 h 57150"/>
                    <a:gd name="connsiteX1" fmla="*/ 0 w 85725"/>
                    <a:gd name="connsiteY1" fmla="*/ 57150 h 57150"/>
                    <a:gd name="connsiteX2" fmla="*/ 28575 w 85725"/>
                    <a:gd name="connsiteY2" fmla="*/ 57150 h 57150"/>
                    <a:gd name="connsiteX3" fmla="*/ 85725 w 85725"/>
                    <a:gd name="connsiteY3" fmla="*/ 0 h 57150"/>
                  </a:gdLst>
                  <a:ahLst/>
                  <a:cxnLst>
                    <a:cxn ang="0">
                      <a:pos x="connsiteX0" y="connsiteY0"/>
                    </a:cxn>
                    <a:cxn ang="0">
                      <a:pos x="connsiteX1" y="connsiteY1"/>
                    </a:cxn>
                    <a:cxn ang="0">
                      <a:pos x="connsiteX2" y="connsiteY2"/>
                    </a:cxn>
                    <a:cxn ang="0">
                      <a:pos x="connsiteX3" y="connsiteY3"/>
                    </a:cxn>
                  </a:cxnLst>
                  <a:rect l="l" t="t" r="r" b="b"/>
                  <a:pathLst>
                    <a:path w="85725" h="57150">
                      <a:moveTo>
                        <a:pt x="57150" y="0"/>
                      </a:moveTo>
                      <a:lnTo>
                        <a:pt x="0" y="57150"/>
                      </a:lnTo>
                      <a:lnTo>
                        <a:pt x="28575" y="57150"/>
                      </a:lnTo>
                      <a:lnTo>
                        <a:pt x="85725" y="0"/>
                      </a:lnTo>
                      <a:close/>
                    </a:path>
                  </a:pathLst>
                </a:custGeom>
                <a:grpFill/>
                <a:ln w="9525" cap="flat">
                  <a:noFill/>
                  <a:prstDash val="solid"/>
                  <a:miter/>
                </a:ln>
              </p:spPr>
              <p:txBody>
                <a:bodyPr rtlCol="0" anchor="ctr"/>
                <a:lstStyle/>
                <a:p>
                  <a:endParaRPr lang="zh-CN" altLang="en-US"/>
                </a:p>
              </p:txBody>
            </p:sp>
            <p:sp>
              <p:nvSpPr>
                <p:cNvPr id="54" name="任意多边形: 形状 53"/>
                <p:cNvSpPr/>
                <p:nvPr/>
              </p:nvSpPr>
              <p:spPr>
                <a:xfrm>
                  <a:off x="7997856" y="2171700"/>
                  <a:ext cx="85724" cy="57150"/>
                </a:xfrm>
                <a:custGeom>
                  <a:avLst/>
                  <a:gdLst>
                    <a:gd name="connsiteX0" fmla="*/ 57150 w 85724"/>
                    <a:gd name="connsiteY0" fmla="*/ 0 h 57150"/>
                    <a:gd name="connsiteX1" fmla="*/ 0 w 85724"/>
                    <a:gd name="connsiteY1" fmla="*/ 57150 h 57150"/>
                    <a:gd name="connsiteX2" fmla="*/ 28575 w 85724"/>
                    <a:gd name="connsiteY2" fmla="*/ 57150 h 57150"/>
                    <a:gd name="connsiteX3" fmla="*/ 85725 w 85724"/>
                    <a:gd name="connsiteY3" fmla="*/ 0 h 57150"/>
                  </a:gdLst>
                  <a:ahLst/>
                  <a:cxnLst>
                    <a:cxn ang="0">
                      <a:pos x="connsiteX0" y="connsiteY0"/>
                    </a:cxn>
                    <a:cxn ang="0">
                      <a:pos x="connsiteX1" y="connsiteY1"/>
                    </a:cxn>
                    <a:cxn ang="0">
                      <a:pos x="connsiteX2" y="connsiteY2"/>
                    </a:cxn>
                    <a:cxn ang="0">
                      <a:pos x="connsiteX3" y="connsiteY3"/>
                    </a:cxn>
                  </a:cxnLst>
                  <a:rect l="l" t="t" r="r" b="b"/>
                  <a:pathLst>
                    <a:path w="85724" h="57150">
                      <a:moveTo>
                        <a:pt x="57150" y="0"/>
                      </a:moveTo>
                      <a:lnTo>
                        <a:pt x="0" y="57150"/>
                      </a:lnTo>
                      <a:lnTo>
                        <a:pt x="28575" y="57150"/>
                      </a:lnTo>
                      <a:lnTo>
                        <a:pt x="85725" y="0"/>
                      </a:lnTo>
                      <a:close/>
                    </a:path>
                  </a:pathLst>
                </a:custGeom>
                <a:grpFill/>
                <a:ln w="9525" cap="flat">
                  <a:noFill/>
                  <a:prstDash val="solid"/>
                  <a:miter/>
                </a:ln>
              </p:spPr>
              <p:txBody>
                <a:bodyPr rtlCol="0" anchor="ctr"/>
                <a:lstStyle/>
                <a:p>
                  <a:endParaRPr lang="zh-CN" altLang="en-US"/>
                </a:p>
              </p:txBody>
            </p:sp>
            <p:sp>
              <p:nvSpPr>
                <p:cNvPr id="55" name="任意多边形: 形状 54"/>
                <p:cNvSpPr/>
                <p:nvPr/>
              </p:nvSpPr>
              <p:spPr>
                <a:xfrm>
                  <a:off x="8059578" y="2171700"/>
                  <a:ext cx="85725" cy="57150"/>
                </a:xfrm>
                <a:custGeom>
                  <a:avLst/>
                  <a:gdLst>
                    <a:gd name="connsiteX0" fmla="*/ 57150 w 85725"/>
                    <a:gd name="connsiteY0" fmla="*/ 0 h 57150"/>
                    <a:gd name="connsiteX1" fmla="*/ 0 w 85725"/>
                    <a:gd name="connsiteY1" fmla="*/ 57150 h 57150"/>
                    <a:gd name="connsiteX2" fmla="*/ 28575 w 85725"/>
                    <a:gd name="connsiteY2" fmla="*/ 57150 h 57150"/>
                    <a:gd name="connsiteX3" fmla="*/ 85725 w 85725"/>
                    <a:gd name="connsiteY3" fmla="*/ 0 h 57150"/>
                  </a:gdLst>
                  <a:ahLst/>
                  <a:cxnLst>
                    <a:cxn ang="0">
                      <a:pos x="connsiteX0" y="connsiteY0"/>
                    </a:cxn>
                    <a:cxn ang="0">
                      <a:pos x="connsiteX1" y="connsiteY1"/>
                    </a:cxn>
                    <a:cxn ang="0">
                      <a:pos x="connsiteX2" y="connsiteY2"/>
                    </a:cxn>
                    <a:cxn ang="0">
                      <a:pos x="connsiteX3" y="connsiteY3"/>
                    </a:cxn>
                  </a:cxnLst>
                  <a:rect l="l" t="t" r="r" b="b"/>
                  <a:pathLst>
                    <a:path w="85725" h="57150">
                      <a:moveTo>
                        <a:pt x="57150" y="0"/>
                      </a:moveTo>
                      <a:lnTo>
                        <a:pt x="0" y="57150"/>
                      </a:lnTo>
                      <a:lnTo>
                        <a:pt x="28575" y="57150"/>
                      </a:lnTo>
                      <a:lnTo>
                        <a:pt x="85725" y="0"/>
                      </a:lnTo>
                      <a:close/>
                    </a:path>
                  </a:pathLst>
                </a:custGeom>
                <a:grpFill/>
                <a:ln w="9525" cap="flat">
                  <a:noFill/>
                  <a:prstDash val="solid"/>
                  <a:miter/>
                </a:ln>
              </p:spPr>
              <p:txBody>
                <a:bodyPr rtlCol="0" anchor="ctr"/>
                <a:lstStyle/>
                <a:p>
                  <a:endParaRPr lang="zh-CN" altLang="en-US"/>
                </a:p>
              </p:txBody>
            </p:sp>
          </p:grpSp>
        </p:grpSp>
        <p:pic>
          <p:nvPicPr>
            <p:cNvPr id="12" name="图片 11"/>
            <p:cNvPicPr>
              <a:picLocks noChangeAspect="1"/>
            </p:cNvPicPr>
            <p:nvPr/>
          </p:nvPicPr>
          <p:blipFill>
            <a:blip r:embed="rId3" cstate="screen"/>
            <a:stretch>
              <a:fillRect/>
            </a:stretch>
          </p:blipFill>
          <p:spPr>
            <a:xfrm>
              <a:off x="1199646" y="1722467"/>
              <a:ext cx="2834437" cy="1628752"/>
            </a:xfrm>
            <a:prstGeom prst="rect">
              <a:avLst/>
            </a:prstGeom>
          </p:spPr>
        </p:pic>
      </p:grpSp>
      <p:sp>
        <p:nvSpPr>
          <p:cNvPr id="13" name="标题 12"/>
          <p:cNvSpPr>
            <a:spLocks noGrp="1"/>
          </p:cNvSpPr>
          <p:nvPr>
            <p:ph type="title" hasCustomPrompt="1"/>
          </p:nvPr>
        </p:nvSpPr>
        <p:spPr>
          <a:xfrm>
            <a:off x="1113760" y="1735130"/>
            <a:ext cx="2429562" cy="838921"/>
          </a:xfrm>
          <a:prstGeom prst="rect">
            <a:avLst/>
          </a:prstGeom>
          <a:noFill/>
        </p:spPr>
        <p:txBody>
          <a:bodyPr anchor="t" anchorCtr="0">
            <a:normAutofit/>
          </a:bodyPr>
          <a:lstStyle>
            <a:lvl1pPr algn="r">
              <a:defRPr sz="4000">
                <a:gradFill flip="none" rotWithShape="1">
                  <a:gsLst>
                    <a:gs pos="50000">
                      <a:schemeClr val="tx1"/>
                    </a:gs>
                    <a:gs pos="0">
                      <a:schemeClr val="accent2">
                        <a:lumMod val="60000"/>
                        <a:lumOff val="40000"/>
                      </a:schemeClr>
                    </a:gs>
                    <a:gs pos="100000">
                      <a:schemeClr val="accent2">
                        <a:lumMod val="60000"/>
                        <a:lumOff val="40000"/>
                      </a:schemeClr>
                    </a:gs>
                  </a:gsLst>
                  <a:lin ang="0" scaled="1"/>
                  <a:tileRect/>
                </a:gradFill>
              </a:defRPr>
            </a:lvl1pPr>
          </a:lstStyle>
          <a:p>
            <a:pPr lvl="0"/>
            <a:r>
              <a:rPr lang="en-US"/>
              <a:t>Agenda</a:t>
            </a:r>
            <a:endParaRPr lang="en-US"/>
          </a:p>
        </p:txBody>
      </p:sp>
      <p:sp>
        <p:nvSpPr>
          <p:cNvPr id="14" name="内容占位符 13"/>
          <p:cNvSpPr>
            <a:spLocks noGrp="1"/>
          </p:cNvSpPr>
          <p:nvPr>
            <p:ph sz="quarter" idx="1" hasCustomPrompt="1"/>
          </p:nvPr>
        </p:nvSpPr>
        <p:spPr>
          <a:xfrm>
            <a:off x="3821193" y="1735130"/>
            <a:ext cx="7244347" cy="3361972"/>
          </a:xfrm>
        </p:spPr>
        <p:txBody>
          <a:bodyPr numCol="1"/>
          <a:lstStyle>
            <a:lvl1pPr marL="342900" indent="-342900">
              <a:lnSpc>
                <a:spcPct val="100000"/>
              </a:lnSpc>
              <a:buFont typeface="+mj-lt"/>
              <a:buAutoNum type="arabicPeriod"/>
              <a:defRPr/>
            </a:lvl1pPr>
            <a:lvl2pPr marL="800100" indent="-342900">
              <a:lnSpc>
                <a:spcPct val="100000"/>
              </a:lnSpc>
              <a:buFont typeface="+mj-ea"/>
              <a:buAutoNum type="circleNumDbPlain"/>
              <a:defRPr/>
            </a:lvl2pPr>
            <a:lvl3pPr marL="1257300" indent="-342900">
              <a:lnSpc>
                <a:spcPct val="100000"/>
              </a:lnSpc>
              <a:buFont typeface="+mj-lt"/>
              <a:buAutoNum type="alphaLcParenR"/>
              <a:defRPr/>
            </a:lvl3pPr>
            <a:lvl4pPr>
              <a:lnSpc>
                <a:spcPct val="100000"/>
              </a:lnSpc>
              <a:defRPr/>
            </a:lvl4pPr>
            <a:lvl5pPr>
              <a:lnSpc>
                <a:spcPct val="100000"/>
              </a:lnSpc>
              <a:defRPr/>
            </a:lvl5pPr>
          </a:lstStyle>
          <a:p>
            <a:pPr lvl="0"/>
            <a:r>
              <a:rPr lang="en-US"/>
              <a:t>Click to add text</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2" name="日期占位符 1"/>
          <p:cNvSpPr>
            <a:spLocks noGrp="1"/>
          </p:cNvSpPr>
          <p:nvPr>
            <p:ph type="dt" sz="half" idx="10"/>
          </p:nvPr>
        </p:nvSpPr>
        <p:spPr/>
        <p:txBody>
          <a:bodyPr/>
          <a:lstStyle/>
          <a:p>
            <a:endParaRPr lang="en-US"/>
          </a:p>
        </p:txBody>
      </p:sp>
      <p:sp>
        <p:nvSpPr>
          <p:cNvPr id="7" name="页脚占位符 6"/>
          <p:cNvSpPr>
            <a:spLocks noGrp="1"/>
          </p:cNvSpPr>
          <p:nvPr>
            <p:ph type="ftr" sz="quarter" idx="11"/>
          </p:nvPr>
        </p:nvSpPr>
        <p:spPr/>
        <p:txBody>
          <a:bodyPr/>
          <a:lstStyle/>
          <a:p>
            <a:endParaRPr lang="en-US" dirty="0"/>
          </a:p>
        </p:txBody>
      </p:sp>
      <p:sp>
        <p:nvSpPr>
          <p:cNvPr id="8" name="灯片编号占位符 7"/>
          <p:cNvSpPr>
            <a:spLocks noGrp="1"/>
          </p:cNvSpPr>
          <p:nvPr>
            <p:ph type="sldNum" sz="quarter" idx="12"/>
          </p:nvPr>
        </p:nvSpPr>
        <p:spPr/>
        <p:txBody>
          <a:bodyPr/>
          <a:lstStyle/>
          <a:p>
            <a:fld id="{C8BB1146-E542-4D4E-B8E9-6919A11DDD48}" type="slidenum">
              <a:rPr lang="en-US" smtClean="0"/>
            </a:fld>
            <a:endParaRPr lang="en-US"/>
          </a:p>
        </p:txBody>
      </p:sp>
      <p:grpSp>
        <p:nvGrpSpPr>
          <p:cNvPr id="110" name="组合 109"/>
          <p:cNvGrpSpPr/>
          <p:nvPr/>
        </p:nvGrpSpPr>
        <p:grpSpPr>
          <a:xfrm>
            <a:off x="2852727" y="1735130"/>
            <a:ext cx="823514" cy="3385960"/>
            <a:chOff x="2809784" y="1735130"/>
            <a:chExt cx="823514" cy="3385960"/>
          </a:xfrm>
        </p:grpSpPr>
        <p:cxnSp>
          <p:nvCxnSpPr>
            <p:cNvPr id="16" name="直接连接符 15"/>
            <p:cNvCxnSpPr/>
            <p:nvPr/>
          </p:nvCxnSpPr>
          <p:spPr>
            <a:xfrm>
              <a:off x="3633298" y="1735130"/>
              <a:ext cx="0" cy="3385960"/>
            </a:xfrm>
            <a:prstGeom prst="line">
              <a:avLst/>
            </a:prstGeom>
            <a:solidFill>
              <a:srgbClr val="FFCC00"/>
            </a:solidFill>
            <a:ln w="12700" cap="flat" cmpd="sng" algn="ctr">
              <a:solidFill>
                <a:schemeClr val="accent2"/>
              </a:solidFill>
              <a:prstDash val="solid"/>
              <a:round/>
              <a:headEnd type="none" w="med" len="med"/>
              <a:tailEnd type="none" w="med" len="med"/>
            </a:ln>
            <a:effectLst/>
          </p:spPr>
        </p:cxnSp>
        <p:sp>
          <p:nvSpPr>
            <p:cNvPr id="18" name="任意多边形: 形状 17"/>
            <p:cNvSpPr>
              <a:spLocks noChangeAspect="1"/>
            </p:cNvSpPr>
            <p:nvPr/>
          </p:nvSpPr>
          <p:spPr bwMode="auto">
            <a:xfrm>
              <a:off x="2809784" y="4401426"/>
              <a:ext cx="684170" cy="719664"/>
            </a:xfrm>
            <a:custGeom>
              <a:avLst/>
              <a:gdLst>
                <a:gd name="T0" fmla="*/ 3353 w 5127"/>
                <a:gd name="T1" fmla="*/ 1728 h 5401"/>
                <a:gd name="T2" fmla="*/ 2183 w 5127"/>
                <a:gd name="T3" fmla="*/ 1608 h 5401"/>
                <a:gd name="T4" fmla="*/ 3353 w 5127"/>
                <a:gd name="T5" fmla="*/ 1488 h 5401"/>
                <a:gd name="T6" fmla="*/ 3103 w 5127"/>
                <a:gd name="T7" fmla="*/ 2231 h 5401"/>
                <a:gd name="T8" fmla="*/ 3103 w 5127"/>
                <a:gd name="T9" fmla="*/ 1991 h 5401"/>
                <a:gd name="T10" fmla="*/ 2432 w 5127"/>
                <a:gd name="T11" fmla="*/ 2111 h 5401"/>
                <a:gd name="T12" fmla="*/ 3103 w 5127"/>
                <a:gd name="T13" fmla="*/ 2231 h 5401"/>
                <a:gd name="T14" fmla="*/ 3353 w 5127"/>
                <a:gd name="T15" fmla="*/ 2648 h 5401"/>
                <a:gd name="T16" fmla="*/ 2183 w 5127"/>
                <a:gd name="T17" fmla="*/ 2768 h 5401"/>
                <a:gd name="T18" fmla="*/ 3353 w 5127"/>
                <a:gd name="T19" fmla="*/ 2888 h 5401"/>
                <a:gd name="T20" fmla="*/ 2552 w 5127"/>
                <a:gd name="T21" fmla="*/ 3151 h 5401"/>
                <a:gd name="T22" fmla="*/ 2552 w 5127"/>
                <a:gd name="T23" fmla="*/ 3391 h 5401"/>
                <a:gd name="T24" fmla="*/ 3223 w 5127"/>
                <a:gd name="T25" fmla="*/ 3271 h 5401"/>
                <a:gd name="T26" fmla="*/ 2552 w 5127"/>
                <a:gd name="T27" fmla="*/ 3151 h 5401"/>
                <a:gd name="T28" fmla="*/ 4448 w 5127"/>
                <a:gd name="T29" fmla="*/ 1442 h 5401"/>
                <a:gd name="T30" fmla="*/ 4688 w 5127"/>
                <a:gd name="T31" fmla="*/ 1442 h 5401"/>
                <a:gd name="T32" fmla="*/ 3988 w 5127"/>
                <a:gd name="T33" fmla="*/ 0 h 5401"/>
                <a:gd name="T34" fmla="*/ 0 w 5127"/>
                <a:gd name="T35" fmla="*/ 604 h 5401"/>
                <a:gd name="T36" fmla="*/ 120 w 5127"/>
                <a:gd name="T37" fmla="*/ 1792 h 5401"/>
                <a:gd name="T38" fmla="*/ 686 w 5127"/>
                <a:gd name="T39" fmla="*/ 1672 h 5401"/>
                <a:gd name="T40" fmla="*/ 240 w 5127"/>
                <a:gd name="T41" fmla="*/ 1552 h 5401"/>
                <a:gd name="T42" fmla="*/ 604 w 5127"/>
                <a:gd name="T43" fmla="*/ 240 h 5401"/>
                <a:gd name="T44" fmla="*/ 968 w 5127"/>
                <a:gd name="T45" fmla="*/ 4179 h 5401"/>
                <a:gd name="T46" fmla="*/ 3904 w 5127"/>
                <a:gd name="T47" fmla="*/ 4879 h 5401"/>
                <a:gd name="T48" fmla="*/ 3904 w 5127"/>
                <a:gd name="T49" fmla="*/ 4639 h 5401"/>
                <a:gd name="T50" fmla="*/ 1208 w 5127"/>
                <a:gd name="T51" fmla="*/ 4179 h 5401"/>
                <a:gd name="T52" fmla="*/ 1086 w 5127"/>
                <a:gd name="T53" fmla="*/ 240 h 5401"/>
                <a:gd name="T54" fmla="*/ 4448 w 5127"/>
                <a:gd name="T55" fmla="*/ 700 h 5401"/>
                <a:gd name="T56" fmla="*/ 4568 w 5127"/>
                <a:gd name="T57" fmla="*/ 2000 h 5401"/>
                <a:gd name="T58" fmla="*/ 4568 w 5127"/>
                <a:gd name="T59" fmla="*/ 2240 h 5401"/>
                <a:gd name="T60" fmla="*/ 4887 w 5127"/>
                <a:gd name="T61" fmla="*/ 2340 h 5401"/>
                <a:gd name="T62" fmla="*/ 5007 w 5127"/>
                <a:gd name="T63" fmla="*/ 3838 h 5401"/>
                <a:gd name="T64" fmla="*/ 5127 w 5127"/>
                <a:gd name="T65" fmla="*/ 2340 h 5401"/>
                <a:gd name="T66" fmla="*/ 4568 w 5127"/>
                <a:gd name="T67" fmla="*/ 5139 h 5401"/>
                <a:gd name="T68" fmla="*/ 4448 w 5127"/>
                <a:gd name="T69" fmla="*/ 5281 h 5401"/>
                <a:gd name="T70" fmla="*/ 4688 w 5127"/>
                <a:gd name="T71" fmla="*/ 5281 h 5401"/>
                <a:gd name="T72" fmla="*/ 4568 w 5127"/>
                <a:gd name="T73" fmla="*/ 5139 h 5401"/>
                <a:gd name="T74" fmla="*/ 4448 w 5127"/>
                <a:gd name="T75" fmla="*/ 2559 h 5401"/>
                <a:gd name="T76" fmla="*/ 4568 w 5127"/>
                <a:gd name="T77" fmla="*/ 4974 h 5401"/>
                <a:gd name="T78" fmla="*/ 4688 w 5127"/>
                <a:gd name="T79" fmla="*/ 2559 h 5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7" h="5401">
                  <a:moveTo>
                    <a:pt x="3473" y="1608"/>
                  </a:moveTo>
                  <a:cubicBezTo>
                    <a:pt x="3473" y="1674"/>
                    <a:pt x="3419" y="1728"/>
                    <a:pt x="3353" y="1728"/>
                  </a:cubicBezTo>
                  <a:lnTo>
                    <a:pt x="2303" y="1728"/>
                  </a:lnTo>
                  <a:cubicBezTo>
                    <a:pt x="2236" y="1728"/>
                    <a:pt x="2183" y="1674"/>
                    <a:pt x="2183" y="1608"/>
                  </a:cubicBezTo>
                  <a:cubicBezTo>
                    <a:pt x="2183" y="1542"/>
                    <a:pt x="2236" y="1488"/>
                    <a:pt x="2303" y="1488"/>
                  </a:cubicBezTo>
                  <a:lnTo>
                    <a:pt x="3353" y="1488"/>
                  </a:lnTo>
                  <a:cubicBezTo>
                    <a:pt x="3419" y="1488"/>
                    <a:pt x="3473" y="1542"/>
                    <a:pt x="3473" y="1608"/>
                  </a:cubicBezTo>
                  <a:close/>
                  <a:moveTo>
                    <a:pt x="3103" y="2231"/>
                  </a:moveTo>
                  <a:cubicBezTo>
                    <a:pt x="3170" y="2231"/>
                    <a:pt x="3223" y="2178"/>
                    <a:pt x="3223" y="2111"/>
                  </a:cubicBezTo>
                  <a:cubicBezTo>
                    <a:pt x="3223" y="2045"/>
                    <a:pt x="3170" y="1991"/>
                    <a:pt x="3103" y="1991"/>
                  </a:cubicBezTo>
                  <a:lnTo>
                    <a:pt x="2552" y="1991"/>
                  </a:lnTo>
                  <a:cubicBezTo>
                    <a:pt x="2486" y="1991"/>
                    <a:pt x="2432" y="2045"/>
                    <a:pt x="2432" y="2111"/>
                  </a:cubicBezTo>
                  <a:cubicBezTo>
                    <a:pt x="2432" y="2178"/>
                    <a:pt x="2486" y="2231"/>
                    <a:pt x="2552" y="2231"/>
                  </a:cubicBezTo>
                  <a:lnTo>
                    <a:pt x="3103" y="2231"/>
                  </a:lnTo>
                  <a:close/>
                  <a:moveTo>
                    <a:pt x="3473" y="2768"/>
                  </a:moveTo>
                  <a:cubicBezTo>
                    <a:pt x="3473" y="2701"/>
                    <a:pt x="3419" y="2648"/>
                    <a:pt x="3353" y="2648"/>
                  </a:cubicBezTo>
                  <a:lnTo>
                    <a:pt x="2303" y="2648"/>
                  </a:lnTo>
                  <a:cubicBezTo>
                    <a:pt x="2236" y="2648"/>
                    <a:pt x="2183" y="2701"/>
                    <a:pt x="2183" y="2768"/>
                  </a:cubicBezTo>
                  <a:cubicBezTo>
                    <a:pt x="2183" y="2834"/>
                    <a:pt x="2236" y="2888"/>
                    <a:pt x="2303" y="2888"/>
                  </a:cubicBezTo>
                  <a:lnTo>
                    <a:pt x="3353" y="2888"/>
                  </a:lnTo>
                  <a:cubicBezTo>
                    <a:pt x="3419" y="2888"/>
                    <a:pt x="3473" y="2834"/>
                    <a:pt x="3473" y="2768"/>
                  </a:cubicBezTo>
                  <a:close/>
                  <a:moveTo>
                    <a:pt x="2552" y="3151"/>
                  </a:moveTo>
                  <a:cubicBezTo>
                    <a:pt x="2486" y="3151"/>
                    <a:pt x="2432" y="3205"/>
                    <a:pt x="2432" y="3271"/>
                  </a:cubicBezTo>
                  <a:cubicBezTo>
                    <a:pt x="2432" y="3338"/>
                    <a:pt x="2486" y="3391"/>
                    <a:pt x="2552" y="3391"/>
                  </a:cubicBezTo>
                  <a:lnTo>
                    <a:pt x="3103" y="3391"/>
                  </a:lnTo>
                  <a:cubicBezTo>
                    <a:pt x="3170" y="3391"/>
                    <a:pt x="3223" y="3338"/>
                    <a:pt x="3223" y="3271"/>
                  </a:cubicBezTo>
                  <a:cubicBezTo>
                    <a:pt x="3223" y="3205"/>
                    <a:pt x="3170" y="3151"/>
                    <a:pt x="3103" y="3151"/>
                  </a:cubicBezTo>
                  <a:lnTo>
                    <a:pt x="2552" y="3151"/>
                  </a:lnTo>
                  <a:close/>
                  <a:moveTo>
                    <a:pt x="4448" y="700"/>
                  </a:moveTo>
                  <a:lnTo>
                    <a:pt x="4448" y="1442"/>
                  </a:lnTo>
                  <a:cubicBezTo>
                    <a:pt x="4448" y="1509"/>
                    <a:pt x="4501" y="1562"/>
                    <a:pt x="4568" y="1562"/>
                  </a:cubicBezTo>
                  <a:cubicBezTo>
                    <a:pt x="4634" y="1562"/>
                    <a:pt x="4688" y="1509"/>
                    <a:pt x="4688" y="1442"/>
                  </a:cubicBezTo>
                  <a:lnTo>
                    <a:pt x="4688" y="700"/>
                  </a:lnTo>
                  <a:cubicBezTo>
                    <a:pt x="4688" y="314"/>
                    <a:pt x="4374" y="0"/>
                    <a:pt x="3988" y="0"/>
                  </a:cubicBezTo>
                  <a:lnTo>
                    <a:pt x="604" y="0"/>
                  </a:lnTo>
                  <a:cubicBezTo>
                    <a:pt x="271" y="0"/>
                    <a:pt x="0" y="271"/>
                    <a:pt x="0" y="604"/>
                  </a:cubicBezTo>
                  <a:lnTo>
                    <a:pt x="0" y="1672"/>
                  </a:lnTo>
                  <a:cubicBezTo>
                    <a:pt x="0" y="1738"/>
                    <a:pt x="53" y="1792"/>
                    <a:pt x="120" y="1792"/>
                  </a:cubicBezTo>
                  <a:lnTo>
                    <a:pt x="566" y="1792"/>
                  </a:lnTo>
                  <a:cubicBezTo>
                    <a:pt x="632" y="1792"/>
                    <a:pt x="686" y="1738"/>
                    <a:pt x="686" y="1672"/>
                  </a:cubicBezTo>
                  <a:cubicBezTo>
                    <a:pt x="686" y="1606"/>
                    <a:pt x="632" y="1552"/>
                    <a:pt x="566" y="1552"/>
                  </a:cubicBezTo>
                  <a:lnTo>
                    <a:pt x="240" y="1552"/>
                  </a:lnTo>
                  <a:lnTo>
                    <a:pt x="240" y="604"/>
                  </a:lnTo>
                  <a:cubicBezTo>
                    <a:pt x="240" y="403"/>
                    <a:pt x="403" y="240"/>
                    <a:pt x="604" y="240"/>
                  </a:cubicBezTo>
                  <a:cubicBezTo>
                    <a:pt x="805" y="240"/>
                    <a:pt x="968" y="403"/>
                    <a:pt x="968" y="604"/>
                  </a:cubicBezTo>
                  <a:lnTo>
                    <a:pt x="968" y="4179"/>
                  </a:lnTo>
                  <a:cubicBezTo>
                    <a:pt x="968" y="4565"/>
                    <a:pt x="1282" y="4879"/>
                    <a:pt x="1668" y="4879"/>
                  </a:cubicBezTo>
                  <a:lnTo>
                    <a:pt x="3904" y="4879"/>
                  </a:lnTo>
                  <a:cubicBezTo>
                    <a:pt x="3970" y="4879"/>
                    <a:pt x="4024" y="4825"/>
                    <a:pt x="4024" y="4759"/>
                  </a:cubicBezTo>
                  <a:cubicBezTo>
                    <a:pt x="4024" y="4693"/>
                    <a:pt x="3970" y="4639"/>
                    <a:pt x="3904" y="4639"/>
                  </a:cubicBezTo>
                  <a:lnTo>
                    <a:pt x="1668" y="4639"/>
                  </a:lnTo>
                  <a:cubicBezTo>
                    <a:pt x="1415" y="4639"/>
                    <a:pt x="1208" y="4433"/>
                    <a:pt x="1208" y="4179"/>
                  </a:cubicBezTo>
                  <a:lnTo>
                    <a:pt x="1208" y="604"/>
                  </a:lnTo>
                  <a:cubicBezTo>
                    <a:pt x="1208" y="468"/>
                    <a:pt x="1163" y="341"/>
                    <a:pt x="1086" y="240"/>
                  </a:cubicBezTo>
                  <a:lnTo>
                    <a:pt x="3988" y="240"/>
                  </a:lnTo>
                  <a:cubicBezTo>
                    <a:pt x="4241" y="240"/>
                    <a:pt x="4448" y="446"/>
                    <a:pt x="4448" y="700"/>
                  </a:cubicBezTo>
                  <a:close/>
                  <a:moveTo>
                    <a:pt x="4787" y="2000"/>
                  </a:moveTo>
                  <a:lnTo>
                    <a:pt x="4568" y="2000"/>
                  </a:lnTo>
                  <a:cubicBezTo>
                    <a:pt x="4501" y="2000"/>
                    <a:pt x="4448" y="2054"/>
                    <a:pt x="4448" y="2120"/>
                  </a:cubicBezTo>
                  <a:cubicBezTo>
                    <a:pt x="4448" y="2187"/>
                    <a:pt x="4501" y="2240"/>
                    <a:pt x="4568" y="2240"/>
                  </a:cubicBezTo>
                  <a:lnTo>
                    <a:pt x="4787" y="2240"/>
                  </a:lnTo>
                  <a:cubicBezTo>
                    <a:pt x="4842" y="2240"/>
                    <a:pt x="4887" y="2285"/>
                    <a:pt x="4887" y="2340"/>
                  </a:cubicBezTo>
                  <a:lnTo>
                    <a:pt x="4887" y="3718"/>
                  </a:lnTo>
                  <a:cubicBezTo>
                    <a:pt x="4887" y="3785"/>
                    <a:pt x="4941" y="3838"/>
                    <a:pt x="5007" y="3838"/>
                  </a:cubicBezTo>
                  <a:cubicBezTo>
                    <a:pt x="5073" y="3838"/>
                    <a:pt x="5127" y="3785"/>
                    <a:pt x="5127" y="3718"/>
                  </a:cubicBezTo>
                  <a:lnTo>
                    <a:pt x="5127" y="2340"/>
                  </a:lnTo>
                  <a:cubicBezTo>
                    <a:pt x="5127" y="2153"/>
                    <a:pt x="4975" y="2000"/>
                    <a:pt x="4787" y="2000"/>
                  </a:cubicBezTo>
                  <a:close/>
                  <a:moveTo>
                    <a:pt x="4568" y="5139"/>
                  </a:moveTo>
                  <a:cubicBezTo>
                    <a:pt x="4501" y="5139"/>
                    <a:pt x="4448" y="5193"/>
                    <a:pt x="4448" y="5259"/>
                  </a:cubicBezTo>
                  <a:lnTo>
                    <a:pt x="4448" y="5281"/>
                  </a:lnTo>
                  <a:cubicBezTo>
                    <a:pt x="4448" y="5347"/>
                    <a:pt x="4501" y="5401"/>
                    <a:pt x="4568" y="5401"/>
                  </a:cubicBezTo>
                  <a:cubicBezTo>
                    <a:pt x="4634" y="5401"/>
                    <a:pt x="4688" y="5347"/>
                    <a:pt x="4688" y="5281"/>
                  </a:cubicBezTo>
                  <a:lnTo>
                    <a:pt x="4688" y="5259"/>
                  </a:lnTo>
                  <a:cubicBezTo>
                    <a:pt x="4688" y="5193"/>
                    <a:pt x="4634" y="5139"/>
                    <a:pt x="4568" y="5139"/>
                  </a:cubicBezTo>
                  <a:close/>
                  <a:moveTo>
                    <a:pt x="4568" y="2439"/>
                  </a:moveTo>
                  <a:cubicBezTo>
                    <a:pt x="4501" y="2439"/>
                    <a:pt x="4448" y="2492"/>
                    <a:pt x="4448" y="2559"/>
                  </a:cubicBezTo>
                  <a:lnTo>
                    <a:pt x="4448" y="4854"/>
                  </a:lnTo>
                  <a:cubicBezTo>
                    <a:pt x="4448" y="4920"/>
                    <a:pt x="4501" y="4974"/>
                    <a:pt x="4568" y="4974"/>
                  </a:cubicBezTo>
                  <a:cubicBezTo>
                    <a:pt x="4634" y="4974"/>
                    <a:pt x="4688" y="4920"/>
                    <a:pt x="4688" y="4854"/>
                  </a:cubicBezTo>
                  <a:lnTo>
                    <a:pt x="4688" y="2559"/>
                  </a:lnTo>
                  <a:cubicBezTo>
                    <a:pt x="4688" y="2492"/>
                    <a:pt x="4634" y="2439"/>
                    <a:pt x="4568" y="2439"/>
                  </a:cubicBezTo>
                  <a:close/>
                </a:path>
              </a:pathLst>
            </a:custGeom>
            <a:gradFill flip="none" rotWithShape="1">
              <a:gsLst>
                <a:gs pos="0">
                  <a:schemeClr val="accent2"/>
                </a:gs>
                <a:gs pos="100000">
                  <a:schemeClr val="accent2">
                    <a:alpha val="0"/>
                  </a:schemeClr>
                </a:gs>
              </a:gsLst>
              <a:lin ang="2700000" scaled="1"/>
              <a:tileRect/>
            </a:gradFill>
            <a:ln>
              <a:noFill/>
            </a:ln>
          </p:spPr>
          <p:txBody>
            <a:bodyPr/>
            <a:lstStyle/>
            <a:p>
              <a:endParaRPr lang="zh-CN" altLang="en-US">
                <a:cs typeface="+mn-ea"/>
                <a:sym typeface="+mn-lt"/>
              </a:endParaRPr>
            </a:p>
          </p:txBody>
        </p:sp>
      </p:gr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showMasterSp="0">
  <p:cSld name="Section Header">
    <p:bg>
      <p:bgRef idx="1001">
        <a:schemeClr val="bg1"/>
      </p:bgRef>
    </p:bg>
    <p:spTree>
      <p:nvGrpSpPr>
        <p:cNvPr id="1" name=""/>
        <p:cNvGrpSpPr/>
        <p:nvPr/>
      </p:nvGrpSpPr>
      <p:grpSpPr>
        <a:xfrm>
          <a:off x="0" y="0"/>
          <a:ext cx="0" cy="0"/>
          <a:chOff x="0" y="0"/>
          <a:chExt cx="0" cy="0"/>
        </a:xfrm>
      </p:grpSpPr>
      <p:grpSp>
        <p:nvGrpSpPr>
          <p:cNvPr id="150" name="组合 149"/>
          <p:cNvGrpSpPr/>
          <p:nvPr/>
        </p:nvGrpSpPr>
        <p:grpSpPr>
          <a:xfrm>
            <a:off x="0" y="0"/>
            <a:ext cx="12192000" cy="6858001"/>
            <a:chOff x="0" y="0"/>
            <a:chExt cx="12192000" cy="6858001"/>
          </a:xfrm>
        </p:grpSpPr>
        <p:grpSp>
          <p:nvGrpSpPr>
            <p:cNvPr id="149" name="组合 148"/>
            <p:cNvGrpSpPr/>
            <p:nvPr/>
          </p:nvGrpSpPr>
          <p:grpSpPr>
            <a:xfrm>
              <a:off x="0" y="0"/>
              <a:ext cx="12192000" cy="6858001"/>
              <a:chOff x="0" y="0"/>
              <a:chExt cx="12192000" cy="6858001"/>
            </a:xfrm>
          </p:grpSpPr>
          <p:grpSp>
            <p:nvGrpSpPr>
              <p:cNvPr id="14" name="组合 13"/>
              <p:cNvGrpSpPr/>
              <p:nvPr/>
            </p:nvGrpSpPr>
            <p:grpSpPr>
              <a:xfrm>
                <a:off x="0" y="0"/>
                <a:ext cx="12192000" cy="6858001"/>
                <a:chOff x="0" y="0"/>
                <a:chExt cx="12192000" cy="6858001"/>
              </a:xfrm>
            </p:grpSpPr>
            <p:sp>
              <p:nvSpPr>
                <p:cNvPr id="109" name="矩形 108"/>
                <p:cNvSpPr/>
                <p:nvPr/>
              </p:nvSpPr>
              <p:spPr>
                <a:xfrm>
                  <a:off x="0" y="0"/>
                  <a:ext cx="12192000" cy="6858000"/>
                </a:xfrm>
                <a:prstGeom prst="rect">
                  <a:avLst/>
                </a:prstGeom>
                <a:blipFill>
                  <a:blip r:embed="rId2"/>
                  <a:srcRect/>
                  <a:stretch>
                    <a:fillRect l="-8947" t="-12098" r="-11579" b="-7988"/>
                  </a:stretch>
                </a:blipFill>
                <a:ln w="38100">
                  <a:noFill/>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noAutofit/>
                </a:bodyPr>
                <a:lstStyle/>
                <a:p>
                  <a:pPr lvl="0" algn="ctr"/>
                  <a:endParaRPr lang="zh-CN" altLang="en-US"/>
                </a:p>
              </p:txBody>
            </p:sp>
            <p:sp>
              <p:nvSpPr>
                <p:cNvPr id="110" name="矩形 109"/>
                <p:cNvSpPr/>
                <p:nvPr/>
              </p:nvSpPr>
              <p:spPr>
                <a:xfrm>
                  <a:off x="0" y="0"/>
                  <a:ext cx="12192000" cy="6858001"/>
                </a:xfrm>
                <a:prstGeom prst="rect">
                  <a:avLst/>
                </a:prstGeom>
                <a:gradFill flip="none" rotWithShape="1">
                  <a:gsLst>
                    <a:gs pos="10000">
                      <a:schemeClr val="accent1">
                        <a:lumMod val="50000"/>
                      </a:schemeClr>
                    </a:gs>
                    <a:gs pos="50000">
                      <a:schemeClr val="accent1">
                        <a:alpha val="80000"/>
                      </a:schemeClr>
                    </a:gs>
                    <a:gs pos="90000">
                      <a:schemeClr val="accent1">
                        <a:lumMod val="50000"/>
                      </a:schemeClr>
                    </a:gs>
                  </a:gsLst>
                  <a:lin ang="8100000" scaled="1"/>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zh-CN" altLang="en-US" dirty="0"/>
                </a:p>
              </p:txBody>
            </p:sp>
          </p:grpSp>
          <p:grpSp>
            <p:nvGrpSpPr>
              <p:cNvPr id="15" name="组合 14"/>
              <p:cNvGrpSpPr/>
              <p:nvPr/>
            </p:nvGrpSpPr>
            <p:grpSpPr>
              <a:xfrm>
                <a:off x="472134" y="577823"/>
                <a:ext cx="10778191" cy="4522946"/>
                <a:chOff x="1299801" y="1073727"/>
                <a:chExt cx="9683941" cy="4063756"/>
              </a:xfrm>
            </p:grpSpPr>
            <p:sp>
              <p:nvSpPr>
                <p:cNvPr id="102" name="椭圆 101"/>
                <p:cNvSpPr/>
                <p:nvPr/>
              </p:nvSpPr>
              <p:spPr>
                <a:xfrm>
                  <a:off x="2726281" y="2025266"/>
                  <a:ext cx="706799" cy="706799"/>
                </a:xfrm>
                <a:prstGeom prst="ellipse">
                  <a:avLst/>
                </a:prstGeom>
                <a:solidFill>
                  <a:schemeClr val="accent2">
                    <a:alpha val="30000"/>
                  </a:schemeClr>
                </a:solidFill>
                <a:ln w="3175">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3" name="椭圆 102"/>
                <p:cNvSpPr/>
                <p:nvPr/>
              </p:nvSpPr>
              <p:spPr>
                <a:xfrm>
                  <a:off x="7453590" y="1073727"/>
                  <a:ext cx="1207736" cy="1207736"/>
                </a:xfrm>
                <a:prstGeom prst="ellipse">
                  <a:avLst/>
                </a:prstGeom>
                <a:solidFill>
                  <a:schemeClr val="accent3">
                    <a:alpha val="20000"/>
                  </a:schemeClr>
                </a:solidFill>
                <a:ln w="3175">
                  <a:noFill/>
                </a:ln>
                <a:effectLst>
                  <a:softEdge rad="254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4" name="椭圆 103"/>
                <p:cNvSpPr/>
                <p:nvPr/>
              </p:nvSpPr>
              <p:spPr>
                <a:xfrm>
                  <a:off x="9444710" y="4691261"/>
                  <a:ext cx="446222" cy="446222"/>
                </a:xfrm>
                <a:prstGeom prst="ellipse">
                  <a:avLst/>
                </a:prstGeom>
                <a:solidFill>
                  <a:schemeClr val="accent2">
                    <a:alpha val="50000"/>
                  </a:schemeClr>
                </a:solidFill>
                <a:ln w="3175">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5" name="椭圆 104"/>
                <p:cNvSpPr/>
                <p:nvPr/>
              </p:nvSpPr>
              <p:spPr>
                <a:xfrm>
                  <a:off x="10122261" y="3239619"/>
                  <a:ext cx="861481" cy="861481"/>
                </a:xfrm>
                <a:prstGeom prst="ellipse">
                  <a:avLst/>
                </a:prstGeom>
                <a:solidFill>
                  <a:schemeClr val="accent2">
                    <a:alpha val="20000"/>
                  </a:schemeClr>
                </a:solidFill>
                <a:ln w="3175">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6" name="椭圆 105"/>
                <p:cNvSpPr/>
                <p:nvPr/>
              </p:nvSpPr>
              <p:spPr>
                <a:xfrm>
                  <a:off x="10122263" y="3814606"/>
                  <a:ext cx="347743" cy="347743"/>
                </a:xfrm>
                <a:prstGeom prst="ellipse">
                  <a:avLst/>
                </a:prstGeom>
                <a:solidFill>
                  <a:schemeClr val="accent3">
                    <a:alpha val="45000"/>
                  </a:schemeClr>
                </a:solidFill>
                <a:ln w="3175">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7" name="椭圆 106"/>
                <p:cNvSpPr/>
                <p:nvPr/>
              </p:nvSpPr>
              <p:spPr>
                <a:xfrm>
                  <a:off x="2129470" y="4471947"/>
                  <a:ext cx="334169" cy="334169"/>
                </a:xfrm>
                <a:prstGeom prst="ellipse">
                  <a:avLst/>
                </a:prstGeom>
                <a:solidFill>
                  <a:schemeClr val="accent3">
                    <a:alpha val="40000"/>
                  </a:schemeClr>
                </a:solidFill>
                <a:ln w="3175">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8" name="椭圆 107"/>
                <p:cNvSpPr/>
                <p:nvPr/>
              </p:nvSpPr>
              <p:spPr>
                <a:xfrm>
                  <a:off x="1299801" y="3339670"/>
                  <a:ext cx="1177662" cy="1177661"/>
                </a:xfrm>
                <a:prstGeom prst="ellipse">
                  <a:avLst/>
                </a:prstGeom>
                <a:solidFill>
                  <a:schemeClr val="accent1">
                    <a:alpha val="60000"/>
                  </a:schemeClr>
                </a:solidFill>
                <a:ln w="3175">
                  <a:noFill/>
                </a:ln>
                <a:effectLst>
                  <a:softEdge rad="254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48" name="组合 147"/>
              <p:cNvGrpSpPr/>
              <p:nvPr/>
            </p:nvGrpSpPr>
            <p:grpSpPr>
              <a:xfrm>
                <a:off x="1539023" y="1339695"/>
                <a:ext cx="9113954" cy="3940261"/>
                <a:chOff x="1539023" y="1339695"/>
                <a:chExt cx="9113954" cy="3940261"/>
              </a:xfrm>
            </p:grpSpPr>
            <p:sp>
              <p:nvSpPr>
                <p:cNvPr id="9" name="任意多边形: 形状 8"/>
                <p:cNvSpPr/>
                <p:nvPr/>
              </p:nvSpPr>
              <p:spPr>
                <a:xfrm>
                  <a:off x="1559662" y="1360334"/>
                  <a:ext cx="8352212" cy="880629"/>
                </a:xfrm>
                <a:custGeom>
                  <a:avLst/>
                  <a:gdLst>
                    <a:gd name="connsiteX0" fmla="*/ 5781675 w 5781675"/>
                    <a:gd name="connsiteY0" fmla="*/ 466725 h 609600"/>
                    <a:gd name="connsiteX1" fmla="*/ 5781675 w 5781675"/>
                    <a:gd name="connsiteY1" fmla="*/ 438150 h 609600"/>
                    <a:gd name="connsiteX2" fmla="*/ 3465576 w 5781675"/>
                    <a:gd name="connsiteY2" fmla="*/ 438150 h 609600"/>
                    <a:gd name="connsiteX3" fmla="*/ 3083528 w 5781675"/>
                    <a:gd name="connsiteY3" fmla="*/ 0 h 609600"/>
                    <a:gd name="connsiteX4" fmla="*/ 266700 w 5781675"/>
                    <a:gd name="connsiteY4" fmla="*/ 0 h 609600"/>
                    <a:gd name="connsiteX5" fmla="*/ 0 w 5781675"/>
                    <a:gd name="connsiteY5" fmla="*/ 257175 h 609600"/>
                    <a:gd name="connsiteX6" fmla="*/ 0 w 5781675"/>
                    <a:gd name="connsiteY6" fmla="*/ 276225 h 609600"/>
                    <a:gd name="connsiteX7" fmla="*/ 0 w 5781675"/>
                    <a:gd name="connsiteY7" fmla="*/ 314325 h 609600"/>
                    <a:gd name="connsiteX8" fmla="*/ 0 w 5781675"/>
                    <a:gd name="connsiteY8" fmla="*/ 609600 h 609600"/>
                    <a:gd name="connsiteX9" fmla="*/ 28575 w 5781675"/>
                    <a:gd name="connsiteY9" fmla="*/ 609600 h 609600"/>
                    <a:gd name="connsiteX10" fmla="*/ 28575 w 5781675"/>
                    <a:gd name="connsiteY10" fmla="*/ 268224 h 609600"/>
                    <a:gd name="connsiteX11" fmla="*/ 275939 w 5781675"/>
                    <a:gd name="connsiteY11" fmla="*/ 28575 h 609600"/>
                    <a:gd name="connsiteX12" fmla="*/ 3037141 w 5781675"/>
                    <a:gd name="connsiteY12" fmla="*/ 28575 h 609600"/>
                    <a:gd name="connsiteX13" fmla="*/ 3417951 w 5781675"/>
                    <a:gd name="connsiteY13" fmla="*/ 466725 h 60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781675" h="609600">
                      <a:moveTo>
                        <a:pt x="5781675" y="466725"/>
                      </a:moveTo>
                      <a:lnTo>
                        <a:pt x="5781675" y="438150"/>
                      </a:lnTo>
                      <a:lnTo>
                        <a:pt x="3465576" y="438150"/>
                      </a:lnTo>
                      <a:lnTo>
                        <a:pt x="3083528" y="0"/>
                      </a:lnTo>
                      <a:lnTo>
                        <a:pt x="266700" y="0"/>
                      </a:lnTo>
                      <a:lnTo>
                        <a:pt x="0" y="257175"/>
                      </a:lnTo>
                      <a:lnTo>
                        <a:pt x="0" y="276225"/>
                      </a:lnTo>
                      <a:lnTo>
                        <a:pt x="0" y="314325"/>
                      </a:lnTo>
                      <a:lnTo>
                        <a:pt x="0" y="609600"/>
                      </a:lnTo>
                      <a:lnTo>
                        <a:pt x="28575" y="609600"/>
                      </a:lnTo>
                      <a:lnTo>
                        <a:pt x="28575" y="268224"/>
                      </a:lnTo>
                      <a:lnTo>
                        <a:pt x="275939" y="28575"/>
                      </a:lnTo>
                      <a:lnTo>
                        <a:pt x="3037141" y="28575"/>
                      </a:lnTo>
                      <a:lnTo>
                        <a:pt x="3417951" y="466725"/>
                      </a:lnTo>
                      <a:close/>
                    </a:path>
                  </a:pathLst>
                </a:custGeom>
                <a:gradFill flip="none" rotWithShape="1">
                  <a:gsLst>
                    <a:gs pos="10000">
                      <a:schemeClr val="accent2"/>
                    </a:gs>
                    <a:gs pos="80000">
                      <a:schemeClr val="accent2"/>
                    </a:gs>
                    <a:gs pos="40000">
                      <a:schemeClr val="accent2">
                        <a:lumMod val="40000"/>
                        <a:lumOff val="60000"/>
                      </a:schemeClr>
                    </a:gs>
                  </a:gsLst>
                  <a:lin ang="0" scaled="1"/>
                  <a:tileRect/>
                </a:gradFill>
                <a:ln w="9525" cap="flat">
                  <a:noFill/>
                  <a:prstDash val="solid"/>
                  <a:miter/>
                </a:ln>
              </p:spPr>
              <p:txBody>
                <a:bodyPr rtlCol="0" anchor="ctr"/>
                <a:lstStyle/>
                <a:p>
                  <a:endParaRPr lang="zh-CN" altLang="en-US"/>
                </a:p>
              </p:txBody>
            </p:sp>
            <p:sp>
              <p:nvSpPr>
                <p:cNvPr id="10" name="任意多边形: 形状 9"/>
                <p:cNvSpPr/>
                <p:nvPr/>
              </p:nvSpPr>
              <p:spPr>
                <a:xfrm>
                  <a:off x="1559662" y="4355022"/>
                  <a:ext cx="798070" cy="904294"/>
                </a:xfrm>
                <a:custGeom>
                  <a:avLst/>
                  <a:gdLst>
                    <a:gd name="connsiteX0" fmla="*/ 0 w 552450"/>
                    <a:gd name="connsiteY0" fmla="*/ 0 h 625982"/>
                    <a:gd name="connsiteX1" fmla="*/ 0 w 552450"/>
                    <a:gd name="connsiteY1" fmla="*/ 359283 h 625982"/>
                    <a:gd name="connsiteX2" fmla="*/ 257175 w 552450"/>
                    <a:gd name="connsiteY2" fmla="*/ 625983 h 625982"/>
                    <a:gd name="connsiteX3" fmla="*/ 276225 w 552450"/>
                    <a:gd name="connsiteY3" fmla="*/ 625983 h 625982"/>
                    <a:gd name="connsiteX4" fmla="*/ 314325 w 552450"/>
                    <a:gd name="connsiteY4" fmla="*/ 625983 h 625982"/>
                    <a:gd name="connsiteX5" fmla="*/ 552450 w 552450"/>
                    <a:gd name="connsiteY5" fmla="*/ 625983 h 625982"/>
                    <a:gd name="connsiteX6" fmla="*/ 552450 w 552450"/>
                    <a:gd name="connsiteY6" fmla="*/ 597408 h 625982"/>
                    <a:gd name="connsiteX7" fmla="*/ 268224 w 552450"/>
                    <a:gd name="connsiteY7" fmla="*/ 597408 h 625982"/>
                    <a:gd name="connsiteX8" fmla="*/ 28575 w 552450"/>
                    <a:gd name="connsiteY8" fmla="*/ 350139 h 625982"/>
                    <a:gd name="connsiteX9" fmla="*/ 28575 w 552450"/>
                    <a:gd name="connsiteY9" fmla="*/ 0 h 625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2450" h="625982">
                      <a:moveTo>
                        <a:pt x="0" y="0"/>
                      </a:moveTo>
                      <a:lnTo>
                        <a:pt x="0" y="359283"/>
                      </a:lnTo>
                      <a:lnTo>
                        <a:pt x="257175" y="625983"/>
                      </a:lnTo>
                      <a:lnTo>
                        <a:pt x="276225" y="625983"/>
                      </a:lnTo>
                      <a:lnTo>
                        <a:pt x="314325" y="625983"/>
                      </a:lnTo>
                      <a:lnTo>
                        <a:pt x="552450" y="625983"/>
                      </a:lnTo>
                      <a:lnTo>
                        <a:pt x="552450" y="597408"/>
                      </a:lnTo>
                      <a:lnTo>
                        <a:pt x="268224" y="597408"/>
                      </a:lnTo>
                      <a:lnTo>
                        <a:pt x="28575" y="350139"/>
                      </a:lnTo>
                      <a:lnTo>
                        <a:pt x="28575" y="0"/>
                      </a:lnTo>
                      <a:close/>
                    </a:path>
                  </a:pathLst>
                </a:custGeom>
                <a:solidFill>
                  <a:schemeClr val="accent2"/>
                </a:solidFill>
                <a:ln w="9525" cap="flat">
                  <a:noFill/>
                  <a:prstDash val="solid"/>
                  <a:miter/>
                </a:ln>
              </p:spPr>
              <p:txBody>
                <a:bodyPr rtlCol="0" anchor="ctr"/>
                <a:lstStyle/>
                <a:p>
                  <a:endParaRPr lang="zh-CN" altLang="en-US"/>
                </a:p>
              </p:txBody>
            </p:sp>
            <p:sp>
              <p:nvSpPr>
                <p:cNvPr id="11" name="任意多边形: 形状 10"/>
                <p:cNvSpPr/>
                <p:nvPr/>
              </p:nvSpPr>
              <p:spPr>
                <a:xfrm>
                  <a:off x="9834268" y="4437580"/>
                  <a:ext cx="798070" cy="821735"/>
                </a:xfrm>
                <a:custGeom>
                  <a:avLst/>
                  <a:gdLst>
                    <a:gd name="connsiteX0" fmla="*/ 552450 w 552450"/>
                    <a:gd name="connsiteY0" fmla="*/ 0 h 568832"/>
                    <a:gd name="connsiteX1" fmla="*/ 552450 w 552450"/>
                    <a:gd name="connsiteY1" fmla="*/ 302133 h 568832"/>
                    <a:gd name="connsiteX2" fmla="*/ 295275 w 552450"/>
                    <a:gd name="connsiteY2" fmla="*/ 568833 h 568832"/>
                    <a:gd name="connsiteX3" fmla="*/ 276225 w 552450"/>
                    <a:gd name="connsiteY3" fmla="*/ 568833 h 568832"/>
                    <a:gd name="connsiteX4" fmla="*/ 238125 w 552450"/>
                    <a:gd name="connsiteY4" fmla="*/ 568833 h 568832"/>
                    <a:gd name="connsiteX5" fmla="*/ 0 w 552450"/>
                    <a:gd name="connsiteY5" fmla="*/ 568833 h 568832"/>
                    <a:gd name="connsiteX6" fmla="*/ 0 w 552450"/>
                    <a:gd name="connsiteY6" fmla="*/ 540258 h 568832"/>
                    <a:gd name="connsiteX7" fmla="*/ 284226 w 552450"/>
                    <a:gd name="connsiteY7" fmla="*/ 540258 h 568832"/>
                    <a:gd name="connsiteX8" fmla="*/ 523875 w 552450"/>
                    <a:gd name="connsiteY8" fmla="*/ 292989 h 568832"/>
                    <a:gd name="connsiteX9" fmla="*/ 523875 w 552450"/>
                    <a:gd name="connsiteY9" fmla="*/ 0 h 568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2450" h="568832">
                      <a:moveTo>
                        <a:pt x="552450" y="0"/>
                      </a:moveTo>
                      <a:lnTo>
                        <a:pt x="552450" y="302133"/>
                      </a:lnTo>
                      <a:lnTo>
                        <a:pt x="295275" y="568833"/>
                      </a:lnTo>
                      <a:lnTo>
                        <a:pt x="276225" y="568833"/>
                      </a:lnTo>
                      <a:lnTo>
                        <a:pt x="238125" y="568833"/>
                      </a:lnTo>
                      <a:lnTo>
                        <a:pt x="0" y="568833"/>
                      </a:lnTo>
                      <a:lnTo>
                        <a:pt x="0" y="540258"/>
                      </a:lnTo>
                      <a:lnTo>
                        <a:pt x="284226" y="540258"/>
                      </a:lnTo>
                      <a:lnTo>
                        <a:pt x="523875" y="292989"/>
                      </a:lnTo>
                      <a:lnTo>
                        <a:pt x="523875" y="0"/>
                      </a:lnTo>
                      <a:close/>
                    </a:path>
                  </a:pathLst>
                </a:custGeom>
                <a:solidFill>
                  <a:schemeClr val="accent2"/>
                </a:solidFill>
                <a:ln w="9525" cap="flat">
                  <a:noFill/>
                  <a:prstDash val="solid"/>
                  <a:miter/>
                </a:ln>
              </p:spPr>
              <p:txBody>
                <a:bodyPr rtlCol="0" anchor="ctr"/>
                <a:lstStyle/>
                <a:p>
                  <a:endParaRPr lang="zh-CN" altLang="en-US"/>
                </a:p>
              </p:txBody>
            </p:sp>
            <p:sp>
              <p:nvSpPr>
                <p:cNvPr id="12" name="任意多边形: 形状 11"/>
                <p:cNvSpPr/>
                <p:nvPr/>
              </p:nvSpPr>
              <p:spPr>
                <a:xfrm>
                  <a:off x="9810601" y="1993286"/>
                  <a:ext cx="821735" cy="798070"/>
                </a:xfrm>
                <a:custGeom>
                  <a:avLst/>
                  <a:gdLst>
                    <a:gd name="connsiteX0" fmla="*/ 0 w 568832"/>
                    <a:gd name="connsiteY0" fmla="*/ 0 h 552450"/>
                    <a:gd name="connsiteX1" fmla="*/ 302133 w 568832"/>
                    <a:gd name="connsiteY1" fmla="*/ 0 h 552450"/>
                    <a:gd name="connsiteX2" fmla="*/ 568833 w 568832"/>
                    <a:gd name="connsiteY2" fmla="*/ 257175 h 552450"/>
                    <a:gd name="connsiteX3" fmla="*/ 568833 w 568832"/>
                    <a:gd name="connsiteY3" fmla="*/ 276225 h 552450"/>
                    <a:gd name="connsiteX4" fmla="*/ 568833 w 568832"/>
                    <a:gd name="connsiteY4" fmla="*/ 314325 h 552450"/>
                    <a:gd name="connsiteX5" fmla="*/ 568833 w 568832"/>
                    <a:gd name="connsiteY5" fmla="*/ 552450 h 552450"/>
                    <a:gd name="connsiteX6" fmla="*/ 540258 w 568832"/>
                    <a:gd name="connsiteY6" fmla="*/ 552450 h 552450"/>
                    <a:gd name="connsiteX7" fmla="*/ 540258 w 568832"/>
                    <a:gd name="connsiteY7" fmla="*/ 268224 h 552450"/>
                    <a:gd name="connsiteX8" fmla="*/ 292989 w 568832"/>
                    <a:gd name="connsiteY8" fmla="*/ 28575 h 552450"/>
                    <a:gd name="connsiteX9" fmla="*/ 0 w 568832"/>
                    <a:gd name="connsiteY9" fmla="*/ 28575 h 552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8832" h="552450">
                      <a:moveTo>
                        <a:pt x="0" y="0"/>
                      </a:moveTo>
                      <a:lnTo>
                        <a:pt x="302133" y="0"/>
                      </a:lnTo>
                      <a:lnTo>
                        <a:pt x="568833" y="257175"/>
                      </a:lnTo>
                      <a:lnTo>
                        <a:pt x="568833" y="276225"/>
                      </a:lnTo>
                      <a:lnTo>
                        <a:pt x="568833" y="314325"/>
                      </a:lnTo>
                      <a:lnTo>
                        <a:pt x="568833" y="552450"/>
                      </a:lnTo>
                      <a:lnTo>
                        <a:pt x="540258" y="552450"/>
                      </a:lnTo>
                      <a:lnTo>
                        <a:pt x="540258" y="268224"/>
                      </a:lnTo>
                      <a:lnTo>
                        <a:pt x="292989" y="28575"/>
                      </a:lnTo>
                      <a:lnTo>
                        <a:pt x="0" y="28575"/>
                      </a:lnTo>
                      <a:close/>
                    </a:path>
                  </a:pathLst>
                </a:custGeom>
                <a:solidFill>
                  <a:schemeClr val="accent2"/>
                </a:solidFill>
                <a:ln w="9525" cap="flat">
                  <a:noFill/>
                  <a:prstDash val="solid"/>
                  <a:miter/>
                </a:ln>
              </p:spPr>
              <p:txBody>
                <a:bodyPr rtlCol="0" anchor="ctr"/>
                <a:lstStyle/>
                <a:p>
                  <a:endParaRPr lang="zh-CN" altLang="en-US"/>
                </a:p>
              </p:txBody>
            </p:sp>
            <p:sp>
              <p:nvSpPr>
                <p:cNvPr id="13" name="任意多边形: 形状 12"/>
                <p:cNvSpPr/>
                <p:nvPr/>
              </p:nvSpPr>
              <p:spPr>
                <a:xfrm>
                  <a:off x="2333652" y="5218038"/>
                  <a:ext cx="7595422" cy="41279"/>
                </a:xfrm>
                <a:custGeom>
                  <a:avLst/>
                  <a:gdLst>
                    <a:gd name="connsiteX0" fmla="*/ 0 w 5257800"/>
                    <a:gd name="connsiteY0" fmla="*/ 0 h 28575"/>
                    <a:gd name="connsiteX1" fmla="*/ 5257800 w 5257800"/>
                    <a:gd name="connsiteY1" fmla="*/ 0 h 28575"/>
                    <a:gd name="connsiteX2" fmla="*/ 5257800 w 5257800"/>
                    <a:gd name="connsiteY2" fmla="*/ 28575 h 28575"/>
                    <a:gd name="connsiteX3" fmla="*/ 0 w 5257800"/>
                    <a:gd name="connsiteY3" fmla="*/ 28575 h 28575"/>
                  </a:gdLst>
                  <a:ahLst/>
                  <a:cxnLst>
                    <a:cxn ang="0">
                      <a:pos x="connsiteX0" y="connsiteY0"/>
                    </a:cxn>
                    <a:cxn ang="0">
                      <a:pos x="connsiteX1" y="connsiteY1"/>
                    </a:cxn>
                    <a:cxn ang="0">
                      <a:pos x="connsiteX2" y="connsiteY2"/>
                    </a:cxn>
                    <a:cxn ang="0">
                      <a:pos x="connsiteX3" y="connsiteY3"/>
                    </a:cxn>
                  </a:cxnLst>
                  <a:rect l="l" t="t" r="r" b="b"/>
                  <a:pathLst>
                    <a:path w="5257800" h="28575">
                      <a:moveTo>
                        <a:pt x="0" y="0"/>
                      </a:moveTo>
                      <a:lnTo>
                        <a:pt x="5257800" y="0"/>
                      </a:lnTo>
                      <a:lnTo>
                        <a:pt x="5257800" y="28575"/>
                      </a:lnTo>
                      <a:lnTo>
                        <a:pt x="0" y="28575"/>
                      </a:lnTo>
                      <a:close/>
                    </a:path>
                  </a:pathLst>
                </a:custGeom>
                <a:gradFill flip="none" rotWithShape="1">
                  <a:gsLst>
                    <a:gs pos="30000">
                      <a:schemeClr val="accent2"/>
                    </a:gs>
                    <a:gs pos="90000">
                      <a:schemeClr val="accent2"/>
                    </a:gs>
                    <a:gs pos="65000">
                      <a:schemeClr val="accent2">
                        <a:lumMod val="60000"/>
                        <a:lumOff val="40000"/>
                      </a:schemeClr>
                    </a:gs>
                  </a:gsLst>
                  <a:lin ang="0" scaled="1"/>
                  <a:tileRect/>
                </a:gradFill>
                <a:ln w="9525" cap="flat">
                  <a:noFill/>
                  <a:prstDash val="solid"/>
                  <a:miter/>
                </a:ln>
              </p:spPr>
              <p:txBody>
                <a:bodyPr rtlCol="0" anchor="ctr"/>
                <a:lstStyle/>
                <a:p>
                  <a:endParaRPr lang="zh-CN" altLang="en-US"/>
                </a:p>
              </p:txBody>
            </p:sp>
            <p:sp>
              <p:nvSpPr>
                <p:cNvPr id="111" name="任意多边形: 形状 110"/>
                <p:cNvSpPr/>
                <p:nvPr/>
              </p:nvSpPr>
              <p:spPr>
                <a:xfrm>
                  <a:off x="10591059" y="2753516"/>
                  <a:ext cx="41279" cy="1747497"/>
                </a:xfrm>
                <a:custGeom>
                  <a:avLst/>
                  <a:gdLst>
                    <a:gd name="connsiteX0" fmla="*/ 0 w 28575"/>
                    <a:gd name="connsiteY0" fmla="*/ 0 h 1209675"/>
                    <a:gd name="connsiteX1" fmla="*/ 28575 w 28575"/>
                    <a:gd name="connsiteY1" fmla="*/ 0 h 1209675"/>
                    <a:gd name="connsiteX2" fmla="*/ 28575 w 28575"/>
                    <a:gd name="connsiteY2" fmla="*/ 1209675 h 1209675"/>
                    <a:gd name="connsiteX3" fmla="*/ 0 w 28575"/>
                    <a:gd name="connsiteY3" fmla="*/ 1209675 h 1209675"/>
                  </a:gdLst>
                  <a:ahLst/>
                  <a:cxnLst>
                    <a:cxn ang="0">
                      <a:pos x="connsiteX0" y="connsiteY0"/>
                    </a:cxn>
                    <a:cxn ang="0">
                      <a:pos x="connsiteX1" y="connsiteY1"/>
                    </a:cxn>
                    <a:cxn ang="0">
                      <a:pos x="connsiteX2" y="connsiteY2"/>
                    </a:cxn>
                    <a:cxn ang="0">
                      <a:pos x="connsiteX3" y="connsiteY3"/>
                    </a:cxn>
                  </a:cxnLst>
                  <a:rect l="l" t="t" r="r" b="b"/>
                  <a:pathLst>
                    <a:path w="28575" h="1209675">
                      <a:moveTo>
                        <a:pt x="0" y="0"/>
                      </a:moveTo>
                      <a:lnTo>
                        <a:pt x="28575" y="0"/>
                      </a:lnTo>
                      <a:lnTo>
                        <a:pt x="28575" y="1209675"/>
                      </a:lnTo>
                      <a:lnTo>
                        <a:pt x="0" y="1209675"/>
                      </a:lnTo>
                      <a:close/>
                    </a:path>
                  </a:pathLst>
                </a:custGeom>
                <a:gradFill>
                  <a:gsLst>
                    <a:gs pos="10000">
                      <a:schemeClr val="accent2"/>
                    </a:gs>
                    <a:gs pos="85000">
                      <a:schemeClr val="accent2"/>
                    </a:gs>
                    <a:gs pos="45000">
                      <a:schemeClr val="accent2">
                        <a:lumMod val="60000"/>
                        <a:lumOff val="40000"/>
                      </a:schemeClr>
                    </a:gs>
                  </a:gsLst>
                  <a:lin ang="5400000" scaled="1"/>
                </a:gradFill>
                <a:ln w="9525" cap="flat">
                  <a:noFill/>
                  <a:prstDash val="solid"/>
                  <a:miter/>
                </a:ln>
              </p:spPr>
              <p:txBody>
                <a:bodyPr rtlCol="0" anchor="ctr"/>
                <a:lstStyle/>
                <a:p>
                  <a:endParaRPr lang="zh-CN" altLang="en-US"/>
                </a:p>
              </p:txBody>
            </p:sp>
            <p:sp>
              <p:nvSpPr>
                <p:cNvPr id="112" name="任意多边形: 形状 111"/>
                <p:cNvSpPr/>
                <p:nvPr/>
              </p:nvSpPr>
              <p:spPr>
                <a:xfrm>
                  <a:off x="1559662" y="2175603"/>
                  <a:ext cx="41279" cy="2242851"/>
                </a:xfrm>
                <a:custGeom>
                  <a:avLst/>
                  <a:gdLst>
                    <a:gd name="connsiteX0" fmla="*/ 0 w 28575"/>
                    <a:gd name="connsiteY0" fmla="*/ 0 h 1552575"/>
                    <a:gd name="connsiteX1" fmla="*/ 28575 w 28575"/>
                    <a:gd name="connsiteY1" fmla="*/ 0 h 1552575"/>
                    <a:gd name="connsiteX2" fmla="*/ 28575 w 28575"/>
                    <a:gd name="connsiteY2" fmla="*/ 1552575 h 1552575"/>
                    <a:gd name="connsiteX3" fmla="*/ 0 w 28575"/>
                    <a:gd name="connsiteY3" fmla="*/ 1552575 h 1552575"/>
                  </a:gdLst>
                  <a:ahLst/>
                  <a:cxnLst>
                    <a:cxn ang="0">
                      <a:pos x="connsiteX0" y="connsiteY0"/>
                    </a:cxn>
                    <a:cxn ang="0">
                      <a:pos x="connsiteX1" y="connsiteY1"/>
                    </a:cxn>
                    <a:cxn ang="0">
                      <a:pos x="connsiteX2" y="connsiteY2"/>
                    </a:cxn>
                    <a:cxn ang="0">
                      <a:pos x="connsiteX3" y="connsiteY3"/>
                    </a:cxn>
                  </a:cxnLst>
                  <a:rect l="l" t="t" r="r" b="b"/>
                  <a:pathLst>
                    <a:path w="28575" h="1552575">
                      <a:moveTo>
                        <a:pt x="0" y="0"/>
                      </a:moveTo>
                      <a:lnTo>
                        <a:pt x="28575" y="0"/>
                      </a:lnTo>
                      <a:lnTo>
                        <a:pt x="28575" y="1552575"/>
                      </a:lnTo>
                      <a:lnTo>
                        <a:pt x="0" y="1552575"/>
                      </a:lnTo>
                      <a:close/>
                    </a:path>
                  </a:pathLst>
                </a:custGeom>
                <a:gradFill>
                  <a:gsLst>
                    <a:gs pos="10000">
                      <a:schemeClr val="accent2"/>
                    </a:gs>
                    <a:gs pos="85000">
                      <a:schemeClr val="accent2"/>
                    </a:gs>
                    <a:gs pos="45000">
                      <a:schemeClr val="accent2">
                        <a:lumMod val="60000"/>
                        <a:lumOff val="40000"/>
                      </a:schemeClr>
                    </a:gs>
                  </a:gsLst>
                  <a:lin ang="5400000" scaled="1"/>
                </a:gradFill>
                <a:ln w="9525" cap="flat">
                  <a:noFill/>
                  <a:prstDash val="solid"/>
                  <a:miter/>
                </a:ln>
              </p:spPr>
              <p:txBody>
                <a:bodyPr rtlCol="0" anchor="ctr"/>
                <a:lstStyle/>
                <a:p>
                  <a:endParaRPr lang="zh-CN" altLang="en-US"/>
                </a:p>
              </p:txBody>
            </p:sp>
            <p:sp>
              <p:nvSpPr>
                <p:cNvPr id="114" name="任意多边形: 形状 113"/>
                <p:cNvSpPr/>
                <p:nvPr/>
              </p:nvSpPr>
              <p:spPr>
                <a:xfrm>
                  <a:off x="1714460" y="4748690"/>
                  <a:ext cx="2463008" cy="247677"/>
                </a:xfrm>
                <a:custGeom>
                  <a:avLst/>
                  <a:gdLst>
                    <a:gd name="connsiteX0" fmla="*/ 1681163 w 1704975"/>
                    <a:gd name="connsiteY0" fmla="*/ 123825 h 171450"/>
                    <a:gd name="connsiteX1" fmla="*/ 1657826 w 1704975"/>
                    <a:gd name="connsiteY1" fmla="*/ 142875 h 171450"/>
                    <a:gd name="connsiteX2" fmla="*/ 152400 w 1704975"/>
                    <a:gd name="connsiteY2" fmla="*/ 142875 h 171450"/>
                    <a:gd name="connsiteX3" fmla="*/ 41339 w 1704975"/>
                    <a:gd name="connsiteY3" fmla="*/ 39814 h 171450"/>
                    <a:gd name="connsiteX4" fmla="*/ 47625 w 1704975"/>
                    <a:gd name="connsiteY4" fmla="*/ 23813 h 171450"/>
                    <a:gd name="connsiteX5" fmla="*/ 23813 w 1704975"/>
                    <a:gd name="connsiteY5" fmla="*/ 0 h 171450"/>
                    <a:gd name="connsiteX6" fmla="*/ 0 w 1704975"/>
                    <a:gd name="connsiteY6" fmla="*/ 23813 h 171450"/>
                    <a:gd name="connsiteX7" fmla="*/ 23813 w 1704975"/>
                    <a:gd name="connsiteY7" fmla="*/ 47625 h 171450"/>
                    <a:gd name="connsiteX8" fmla="*/ 35909 w 1704975"/>
                    <a:gd name="connsiteY8" fmla="*/ 44196 h 171450"/>
                    <a:gd name="connsiteX9" fmla="*/ 152400 w 1704975"/>
                    <a:gd name="connsiteY9" fmla="*/ 152400 h 171450"/>
                    <a:gd name="connsiteX10" fmla="*/ 1657826 w 1704975"/>
                    <a:gd name="connsiteY10" fmla="*/ 152400 h 171450"/>
                    <a:gd name="connsiteX11" fmla="*/ 1681163 w 1704975"/>
                    <a:gd name="connsiteY11" fmla="*/ 171450 h 171450"/>
                    <a:gd name="connsiteX12" fmla="*/ 1704975 w 1704975"/>
                    <a:gd name="connsiteY12" fmla="*/ 147638 h 171450"/>
                    <a:gd name="connsiteX13" fmla="*/ 1681163 w 1704975"/>
                    <a:gd name="connsiteY13" fmla="*/ 123825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04975" h="171450">
                      <a:moveTo>
                        <a:pt x="1681163" y="123825"/>
                      </a:moveTo>
                      <a:cubicBezTo>
                        <a:pt x="1669637" y="123825"/>
                        <a:pt x="1660017" y="132016"/>
                        <a:pt x="1657826" y="142875"/>
                      </a:cubicBezTo>
                      <a:lnTo>
                        <a:pt x="152400" y="142875"/>
                      </a:lnTo>
                      <a:lnTo>
                        <a:pt x="41339" y="39814"/>
                      </a:lnTo>
                      <a:cubicBezTo>
                        <a:pt x="45148" y="35624"/>
                        <a:pt x="47625" y="30004"/>
                        <a:pt x="47625" y="23813"/>
                      </a:cubicBezTo>
                      <a:cubicBezTo>
                        <a:pt x="47625" y="10668"/>
                        <a:pt x="36957" y="0"/>
                        <a:pt x="23813" y="0"/>
                      </a:cubicBezTo>
                      <a:cubicBezTo>
                        <a:pt x="10668" y="0"/>
                        <a:pt x="0" y="10668"/>
                        <a:pt x="0" y="23813"/>
                      </a:cubicBezTo>
                      <a:cubicBezTo>
                        <a:pt x="0" y="36957"/>
                        <a:pt x="10668" y="47625"/>
                        <a:pt x="23813" y="47625"/>
                      </a:cubicBezTo>
                      <a:cubicBezTo>
                        <a:pt x="28289" y="47625"/>
                        <a:pt x="32385" y="46292"/>
                        <a:pt x="35909" y="44196"/>
                      </a:cubicBezTo>
                      <a:lnTo>
                        <a:pt x="152400" y="152400"/>
                      </a:lnTo>
                      <a:lnTo>
                        <a:pt x="1657826" y="152400"/>
                      </a:lnTo>
                      <a:cubicBezTo>
                        <a:pt x="1660017" y="163259"/>
                        <a:pt x="1669637" y="171450"/>
                        <a:pt x="1681163" y="171450"/>
                      </a:cubicBezTo>
                      <a:cubicBezTo>
                        <a:pt x="1694307" y="171450"/>
                        <a:pt x="1704975" y="160782"/>
                        <a:pt x="1704975" y="147638"/>
                      </a:cubicBezTo>
                      <a:cubicBezTo>
                        <a:pt x="1704975" y="134493"/>
                        <a:pt x="1694307" y="123825"/>
                        <a:pt x="1681163" y="123825"/>
                      </a:cubicBezTo>
                      <a:close/>
                    </a:path>
                  </a:pathLst>
                </a:custGeom>
                <a:solidFill>
                  <a:schemeClr val="accent2"/>
                </a:solidFill>
                <a:ln w="9525" cap="flat">
                  <a:noFill/>
                  <a:prstDash val="solid"/>
                  <a:miter/>
                </a:ln>
              </p:spPr>
              <p:txBody>
                <a:bodyPr rtlCol="0" anchor="ctr"/>
                <a:lstStyle/>
                <a:p>
                  <a:endParaRPr lang="zh-CN" altLang="en-US"/>
                </a:p>
              </p:txBody>
            </p:sp>
            <p:grpSp>
              <p:nvGrpSpPr>
                <p:cNvPr id="115" name="组合 114"/>
                <p:cNvGrpSpPr/>
                <p:nvPr/>
              </p:nvGrpSpPr>
              <p:grpSpPr>
                <a:xfrm>
                  <a:off x="2911564" y="5023886"/>
                  <a:ext cx="1142065" cy="96319"/>
                  <a:chOff x="3893343" y="4617243"/>
                  <a:chExt cx="790575" cy="66675"/>
                </a:xfrm>
                <a:gradFill flip="none" rotWithShape="1">
                  <a:gsLst>
                    <a:gs pos="0">
                      <a:schemeClr val="accent2"/>
                    </a:gs>
                    <a:gs pos="80000">
                      <a:schemeClr val="accent1">
                        <a:alpha val="50000"/>
                      </a:schemeClr>
                    </a:gs>
                  </a:gsLst>
                  <a:lin ang="0" scaled="1"/>
                  <a:tileRect/>
                </a:gradFill>
              </p:grpSpPr>
              <p:sp>
                <p:nvSpPr>
                  <p:cNvPr id="116" name="任意多边形: 形状 115"/>
                  <p:cNvSpPr/>
                  <p:nvPr/>
                </p:nvSpPr>
                <p:spPr>
                  <a:xfrm>
                    <a:off x="4560093" y="4617243"/>
                    <a:ext cx="123825" cy="66675"/>
                  </a:xfrm>
                  <a:custGeom>
                    <a:avLst/>
                    <a:gdLst>
                      <a:gd name="connsiteX0" fmla="*/ 57150 w 123825"/>
                      <a:gd name="connsiteY0" fmla="*/ 0 h 66675"/>
                      <a:gd name="connsiteX1" fmla="*/ 0 w 123825"/>
                      <a:gd name="connsiteY1" fmla="*/ 0 h 66675"/>
                      <a:gd name="connsiteX2" fmla="*/ 66675 w 123825"/>
                      <a:gd name="connsiteY2" fmla="*/ 66675 h 66675"/>
                      <a:gd name="connsiteX3" fmla="*/ 123825 w 123825"/>
                      <a:gd name="connsiteY3" fmla="*/ 66675 h 66675"/>
                    </a:gdLst>
                    <a:ahLst/>
                    <a:cxnLst>
                      <a:cxn ang="0">
                        <a:pos x="connsiteX0" y="connsiteY0"/>
                      </a:cxn>
                      <a:cxn ang="0">
                        <a:pos x="connsiteX1" y="connsiteY1"/>
                      </a:cxn>
                      <a:cxn ang="0">
                        <a:pos x="connsiteX2" y="connsiteY2"/>
                      </a:cxn>
                      <a:cxn ang="0">
                        <a:pos x="connsiteX3" y="connsiteY3"/>
                      </a:cxn>
                    </a:cxnLst>
                    <a:rect l="l" t="t" r="r" b="b"/>
                    <a:pathLst>
                      <a:path w="123825" h="66675">
                        <a:moveTo>
                          <a:pt x="57150" y="0"/>
                        </a:moveTo>
                        <a:lnTo>
                          <a:pt x="0" y="0"/>
                        </a:lnTo>
                        <a:lnTo>
                          <a:pt x="66675" y="66675"/>
                        </a:lnTo>
                        <a:lnTo>
                          <a:pt x="123825" y="66675"/>
                        </a:lnTo>
                        <a:close/>
                      </a:path>
                    </a:pathLst>
                  </a:custGeom>
                  <a:grpFill/>
                  <a:ln w="9525" cap="flat">
                    <a:noFill/>
                    <a:prstDash val="solid"/>
                    <a:miter/>
                  </a:ln>
                </p:spPr>
                <p:txBody>
                  <a:bodyPr rtlCol="0" anchor="ctr"/>
                  <a:lstStyle/>
                  <a:p>
                    <a:endParaRPr lang="zh-CN" altLang="en-US"/>
                  </a:p>
                </p:txBody>
              </p:sp>
              <p:sp>
                <p:nvSpPr>
                  <p:cNvPr id="117" name="任意多边形: 形状 116"/>
                  <p:cNvSpPr/>
                  <p:nvPr/>
                </p:nvSpPr>
                <p:spPr>
                  <a:xfrm>
                    <a:off x="4464843" y="4617243"/>
                    <a:ext cx="123825" cy="66675"/>
                  </a:xfrm>
                  <a:custGeom>
                    <a:avLst/>
                    <a:gdLst>
                      <a:gd name="connsiteX0" fmla="*/ 0 w 123825"/>
                      <a:gd name="connsiteY0" fmla="*/ 0 h 66675"/>
                      <a:gd name="connsiteX1" fmla="*/ 66675 w 123825"/>
                      <a:gd name="connsiteY1" fmla="*/ 66675 h 66675"/>
                      <a:gd name="connsiteX2" fmla="*/ 123825 w 123825"/>
                      <a:gd name="connsiteY2" fmla="*/ 66675 h 66675"/>
                      <a:gd name="connsiteX3" fmla="*/ 57150 w 123825"/>
                      <a:gd name="connsiteY3" fmla="*/ 0 h 66675"/>
                    </a:gdLst>
                    <a:ahLst/>
                    <a:cxnLst>
                      <a:cxn ang="0">
                        <a:pos x="connsiteX0" y="connsiteY0"/>
                      </a:cxn>
                      <a:cxn ang="0">
                        <a:pos x="connsiteX1" y="connsiteY1"/>
                      </a:cxn>
                      <a:cxn ang="0">
                        <a:pos x="connsiteX2" y="connsiteY2"/>
                      </a:cxn>
                      <a:cxn ang="0">
                        <a:pos x="connsiteX3" y="connsiteY3"/>
                      </a:cxn>
                    </a:cxnLst>
                    <a:rect l="l" t="t" r="r" b="b"/>
                    <a:pathLst>
                      <a:path w="123825" h="66675">
                        <a:moveTo>
                          <a:pt x="0" y="0"/>
                        </a:moveTo>
                        <a:lnTo>
                          <a:pt x="66675" y="66675"/>
                        </a:lnTo>
                        <a:lnTo>
                          <a:pt x="123825" y="66675"/>
                        </a:lnTo>
                        <a:lnTo>
                          <a:pt x="57150" y="0"/>
                        </a:lnTo>
                        <a:close/>
                      </a:path>
                    </a:pathLst>
                  </a:custGeom>
                  <a:grpFill/>
                  <a:ln w="9525" cap="flat">
                    <a:noFill/>
                    <a:prstDash val="solid"/>
                    <a:miter/>
                  </a:ln>
                </p:spPr>
                <p:txBody>
                  <a:bodyPr rtlCol="0" anchor="ctr"/>
                  <a:lstStyle/>
                  <a:p>
                    <a:endParaRPr lang="zh-CN" altLang="en-US"/>
                  </a:p>
                </p:txBody>
              </p:sp>
              <p:sp>
                <p:nvSpPr>
                  <p:cNvPr id="118" name="任意多边形: 形状 117"/>
                  <p:cNvSpPr/>
                  <p:nvPr/>
                </p:nvSpPr>
                <p:spPr>
                  <a:xfrm>
                    <a:off x="4369593" y="4617243"/>
                    <a:ext cx="123825" cy="66675"/>
                  </a:xfrm>
                  <a:custGeom>
                    <a:avLst/>
                    <a:gdLst>
                      <a:gd name="connsiteX0" fmla="*/ 0 w 123825"/>
                      <a:gd name="connsiteY0" fmla="*/ 0 h 66675"/>
                      <a:gd name="connsiteX1" fmla="*/ 66675 w 123825"/>
                      <a:gd name="connsiteY1" fmla="*/ 66675 h 66675"/>
                      <a:gd name="connsiteX2" fmla="*/ 123825 w 123825"/>
                      <a:gd name="connsiteY2" fmla="*/ 66675 h 66675"/>
                      <a:gd name="connsiteX3" fmla="*/ 57150 w 123825"/>
                      <a:gd name="connsiteY3" fmla="*/ 0 h 66675"/>
                    </a:gdLst>
                    <a:ahLst/>
                    <a:cxnLst>
                      <a:cxn ang="0">
                        <a:pos x="connsiteX0" y="connsiteY0"/>
                      </a:cxn>
                      <a:cxn ang="0">
                        <a:pos x="connsiteX1" y="connsiteY1"/>
                      </a:cxn>
                      <a:cxn ang="0">
                        <a:pos x="connsiteX2" y="connsiteY2"/>
                      </a:cxn>
                      <a:cxn ang="0">
                        <a:pos x="connsiteX3" y="connsiteY3"/>
                      </a:cxn>
                    </a:cxnLst>
                    <a:rect l="l" t="t" r="r" b="b"/>
                    <a:pathLst>
                      <a:path w="123825" h="66675">
                        <a:moveTo>
                          <a:pt x="0" y="0"/>
                        </a:moveTo>
                        <a:lnTo>
                          <a:pt x="66675" y="66675"/>
                        </a:lnTo>
                        <a:lnTo>
                          <a:pt x="123825" y="66675"/>
                        </a:lnTo>
                        <a:lnTo>
                          <a:pt x="57150" y="0"/>
                        </a:lnTo>
                        <a:close/>
                      </a:path>
                    </a:pathLst>
                  </a:custGeom>
                  <a:grpFill/>
                  <a:ln w="9525" cap="flat">
                    <a:noFill/>
                    <a:prstDash val="solid"/>
                    <a:miter/>
                  </a:ln>
                </p:spPr>
                <p:txBody>
                  <a:bodyPr rtlCol="0" anchor="ctr"/>
                  <a:lstStyle/>
                  <a:p>
                    <a:endParaRPr lang="zh-CN" altLang="en-US"/>
                  </a:p>
                </p:txBody>
              </p:sp>
              <p:sp>
                <p:nvSpPr>
                  <p:cNvPr id="119" name="任意多边形: 形状 118"/>
                  <p:cNvSpPr/>
                  <p:nvPr/>
                </p:nvSpPr>
                <p:spPr>
                  <a:xfrm>
                    <a:off x="4274343" y="4617243"/>
                    <a:ext cx="123825" cy="66675"/>
                  </a:xfrm>
                  <a:custGeom>
                    <a:avLst/>
                    <a:gdLst>
                      <a:gd name="connsiteX0" fmla="*/ 0 w 123825"/>
                      <a:gd name="connsiteY0" fmla="*/ 0 h 66675"/>
                      <a:gd name="connsiteX1" fmla="*/ 66675 w 123825"/>
                      <a:gd name="connsiteY1" fmla="*/ 66675 h 66675"/>
                      <a:gd name="connsiteX2" fmla="*/ 123825 w 123825"/>
                      <a:gd name="connsiteY2" fmla="*/ 66675 h 66675"/>
                      <a:gd name="connsiteX3" fmla="*/ 57150 w 123825"/>
                      <a:gd name="connsiteY3" fmla="*/ 0 h 66675"/>
                    </a:gdLst>
                    <a:ahLst/>
                    <a:cxnLst>
                      <a:cxn ang="0">
                        <a:pos x="connsiteX0" y="connsiteY0"/>
                      </a:cxn>
                      <a:cxn ang="0">
                        <a:pos x="connsiteX1" y="connsiteY1"/>
                      </a:cxn>
                      <a:cxn ang="0">
                        <a:pos x="connsiteX2" y="connsiteY2"/>
                      </a:cxn>
                      <a:cxn ang="0">
                        <a:pos x="connsiteX3" y="connsiteY3"/>
                      </a:cxn>
                    </a:cxnLst>
                    <a:rect l="l" t="t" r="r" b="b"/>
                    <a:pathLst>
                      <a:path w="123825" h="66675">
                        <a:moveTo>
                          <a:pt x="0" y="0"/>
                        </a:moveTo>
                        <a:lnTo>
                          <a:pt x="66675" y="66675"/>
                        </a:lnTo>
                        <a:lnTo>
                          <a:pt x="123825" y="66675"/>
                        </a:lnTo>
                        <a:lnTo>
                          <a:pt x="57150" y="0"/>
                        </a:lnTo>
                        <a:close/>
                      </a:path>
                    </a:pathLst>
                  </a:custGeom>
                  <a:grpFill/>
                  <a:ln w="9525" cap="flat">
                    <a:noFill/>
                    <a:prstDash val="solid"/>
                    <a:miter/>
                  </a:ln>
                </p:spPr>
                <p:txBody>
                  <a:bodyPr rtlCol="0" anchor="ctr"/>
                  <a:lstStyle/>
                  <a:p>
                    <a:endParaRPr lang="zh-CN" altLang="en-US"/>
                  </a:p>
                </p:txBody>
              </p:sp>
              <p:sp>
                <p:nvSpPr>
                  <p:cNvPr id="120" name="任意多边形: 形状 119"/>
                  <p:cNvSpPr/>
                  <p:nvPr/>
                </p:nvSpPr>
                <p:spPr>
                  <a:xfrm>
                    <a:off x="4179093" y="4617243"/>
                    <a:ext cx="123825" cy="66675"/>
                  </a:xfrm>
                  <a:custGeom>
                    <a:avLst/>
                    <a:gdLst>
                      <a:gd name="connsiteX0" fmla="*/ 0 w 123825"/>
                      <a:gd name="connsiteY0" fmla="*/ 0 h 66675"/>
                      <a:gd name="connsiteX1" fmla="*/ 66675 w 123825"/>
                      <a:gd name="connsiteY1" fmla="*/ 66675 h 66675"/>
                      <a:gd name="connsiteX2" fmla="*/ 123825 w 123825"/>
                      <a:gd name="connsiteY2" fmla="*/ 66675 h 66675"/>
                      <a:gd name="connsiteX3" fmla="*/ 57150 w 123825"/>
                      <a:gd name="connsiteY3" fmla="*/ 0 h 66675"/>
                    </a:gdLst>
                    <a:ahLst/>
                    <a:cxnLst>
                      <a:cxn ang="0">
                        <a:pos x="connsiteX0" y="connsiteY0"/>
                      </a:cxn>
                      <a:cxn ang="0">
                        <a:pos x="connsiteX1" y="connsiteY1"/>
                      </a:cxn>
                      <a:cxn ang="0">
                        <a:pos x="connsiteX2" y="connsiteY2"/>
                      </a:cxn>
                      <a:cxn ang="0">
                        <a:pos x="connsiteX3" y="connsiteY3"/>
                      </a:cxn>
                    </a:cxnLst>
                    <a:rect l="l" t="t" r="r" b="b"/>
                    <a:pathLst>
                      <a:path w="123825" h="66675">
                        <a:moveTo>
                          <a:pt x="0" y="0"/>
                        </a:moveTo>
                        <a:lnTo>
                          <a:pt x="66675" y="66675"/>
                        </a:lnTo>
                        <a:lnTo>
                          <a:pt x="123825" y="66675"/>
                        </a:lnTo>
                        <a:lnTo>
                          <a:pt x="57150" y="0"/>
                        </a:lnTo>
                        <a:close/>
                      </a:path>
                    </a:pathLst>
                  </a:custGeom>
                  <a:grpFill/>
                  <a:ln w="9525" cap="flat">
                    <a:noFill/>
                    <a:prstDash val="solid"/>
                    <a:miter/>
                  </a:ln>
                </p:spPr>
                <p:txBody>
                  <a:bodyPr rtlCol="0" anchor="ctr"/>
                  <a:lstStyle/>
                  <a:p>
                    <a:endParaRPr lang="zh-CN" altLang="en-US"/>
                  </a:p>
                </p:txBody>
              </p:sp>
              <p:sp>
                <p:nvSpPr>
                  <p:cNvPr id="121" name="任意多边形: 形状 120"/>
                  <p:cNvSpPr/>
                  <p:nvPr/>
                </p:nvSpPr>
                <p:spPr>
                  <a:xfrm>
                    <a:off x="4083843" y="4617243"/>
                    <a:ext cx="123825" cy="66675"/>
                  </a:xfrm>
                  <a:custGeom>
                    <a:avLst/>
                    <a:gdLst>
                      <a:gd name="connsiteX0" fmla="*/ 0 w 123825"/>
                      <a:gd name="connsiteY0" fmla="*/ 0 h 66675"/>
                      <a:gd name="connsiteX1" fmla="*/ 66675 w 123825"/>
                      <a:gd name="connsiteY1" fmla="*/ 66675 h 66675"/>
                      <a:gd name="connsiteX2" fmla="*/ 123825 w 123825"/>
                      <a:gd name="connsiteY2" fmla="*/ 66675 h 66675"/>
                      <a:gd name="connsiteX3" fmla="*/ 57150 w 123825"/>
                      <a:gd name="connsiteY3" fmla="*/ 0 h 66675"/>
                    </a:gdLst>
                    <a:ahLst/>
                    <a:cxnLst>
                      <a:cxn ang="0">
                        <a:pos x="connsiteX0" y="connsiteY0"/>
                      </a:cxn>
                      <a:cxn ang="0">
                        <a:pos x="connsiteX1" y="connsiteY1"/>
                      </a:cxn>
                      <a:cxn ang="0">
                        <a:pos x="connsiteX2" y="connsiteY2"/>
                      </a:cxn>
                      <a:cxn ang="0">
                        <a:pos x="connsiteX3" y="connsiteY3"/>
                      </a:cxn>
                    </a:cxnLst>
                    <a:rect l="l" t="t" r="r" b="b"/>
                    <a:pathLst>
                      <a:path w="123825" h="66675">
                        <a:moveTo>
                          <a:pt x="0" y="0"/>
                        </a:moveTo>
                        <a:lnTo>
                          <a:pt x="66675" y="66675"/>
                        </a:lnTo>
                        <a:lnTo>
                          <a:pt x="123825" y="66675"/>
                        </a:lnTo>
                        <a:lnTo>
                          <a:pt x="57150" y="0"/>
                        </a:lnTo>
                        <a:close/>
                      </a:path>
                    </a:pathLst>
                  </a:custGeom>
                  <a:grpFill/>
                  <a:ln w="9525" cap="flat">
                    <a:noFill/>
                    <a:prstDash val="solid"/>
                    <a:miter/>
                  </a:ln>
                </p:spPr>
                <p:txBody>
                  <a:bodyPr rtlCol="0" anchor="ctr"/>
                  <a:lstStyle/>
                  <a:p>
                    <a:endParaRPr lang="zh-CN" altLang="en-US"/>
                  </a:p>
                </p:txBody>
              </p:sp>
              <p:sp>
                <p:nvSpPr>
                  <p:cNvPr id="122" name="任意多边形: 形状 121"/>
                  <p:cNvSpPr/>
                  <p:nvPr/>
                </p:nvSpPr>
                <p:spPr>
                  <a:xfrm>
                    <a:off x="3988593" y="4617243"/>
                    <a:ext cx="123825" cy="66675"/>
                  </a:xfrm>
                  <a:custGeom>
                    <a:avLst/>
                    <a:gdLst>
                      <a:gd name="connsiteX0" fmla="*/ 0 w 123825"/>
                      <a:gd name="connsiteY0" fmla="*/ 0 h 66675"/>
                      <a:gd name="connsiteX1" fmla="*/ 66675 w 123825"/>
                      <a:gd name="connsiteY1" fmla="*/ 66675 h 66675"/>
                      <a:gd name="connsiteX2" fmla="*/ 123825 w 123825"/>
                      <a:gd name="connsiteY2" fmla="*/ 66675 h 66675"/>
                      <a:gd name="connsiteX3" fmla="*/ 57150 w 123825"/>
                      <a:gd name="connsiteY3" fmla="*/ 0 h 66675"/>
                    </a:gdLst>
                    <a:ahLst/>
                    <a:cxnLst>
                      <a:cxn ang="0">
                        <a:pos x="connsiteX0" y="connsiteY0"/>
                      </a:cxn>
                      <a:cxn ang="0">
                        <a:pos x="connsiteX1" y="connsiteY1"/>
                      </a:cxn>
                      <a:cxn ang="0">
                        <a:pos x="connsiteX2" y="connsiteY2"/>
                      </a:cxn>
                      <a:cxn ang="0">
                        <a:pos x="connsiteX3" y="connsiteY3"/>
                      </a:cxn>
                    </a:cxnLst>
                    <a:rect l="l" t="t" r="r" b="b"/>
                    <a:pathLst>
                      <a:path w="123825" h="66675">
                        <a:moveTo>
                          <a:pt x="0" y="0"/>
                        </a:moveTo>
                        <a:lnTo>
                          <a:pt x="66675" y="66675"/>
                        </a:lnTo>
                        <a:lnTo>
                          <a:pt x="123825" y="66675"/>
                        </a:lnTo>
                        <a:lnTo>
                          <a:pt x="57150" y="0"/>
                        </a:lnTo>
                        <a:close/>
                      </a:path>
                    </a:pathLst>
                  </a:custGeom>
                  <a:grpFill/>
                  <a:ln w="9525" cap="flat">
                    <a:noFill/>
                    <a:prstDash val="solid"/>
                    <a:miter/>
                  </a:ln>
                </p:spPr>
                <p:txBody>
                  <a:bodyPr rtlCol="0" anchor="ctr"/>
                  <a:lstStyle/>
                  <a:p>
                    <a:endParaRPr lang="zh-CN" altLang="en-US"/>
                  </a:p>
                </p:txBody>
              </p:sp>
              <p:sp>
                <p:nvSpPr>
                  <p:cNvPr id="123" name="任意多边形: 形状 122"/>
                  <p:cNvSpPr/>
                  <p:nvPr/>
                </p:nvSpPr>
                <p:spPr>
                  <a:xfrm>
                    <a:off x="3893343" y="4617243"/>
                    <a:ext cx="123825" cy="66675"/>
                  </a:xfrm>
                  <a:custGeom>
                    <a:avLst/>
                    <a:gdLst>
                      <a:gd name="connsiteX0" fmla="*/ 0 w 123825"/>
                      <a:gd name="connsiteY0" fmla="*/ 0 h 66675"/>
                      <a:gd name="connsiteX1" fmla="*/ 66675 w 123825"/>
                      <a:gd name="connsiteY1" fmla="*/ 66675 h 66675"/>
                      <a:gd name="connsiteX2" fmla="*/ 123825 w 123825"/>
                      <a:gd name="connsiteY2" fmla="*/ 66675 h 66675"/>
                      <a:gd name="connsiteX3" fmla="*/ 57150 w 123825"/>
                      <a:gd name="connsiteY3" fmla="*/ 0 h 66675"/>
                    </a:gdLst>
                    <a:ahLst/>
                    <a:cxnLst>
                      <a:cxn ang="0">
                        <a:pos x="connsiteX0" y="connsiteY0"/>
                      </a:cxn>
                      <a:cxn ang="0">
                        <a:pos x="connsiteX1" y="connsiteY1"/>
                      </a:cxn>
                      <a:cxn ang="0">
                        <a:pos x="connsiteX2" y="connsiteY2"/>
                      </a:cxn>
                      <a:cxn ang="0">
                        <a:pos x="connsiteX3" y="connsiteY3"/>
                      </a:cxn>
                    </a:cxnLst>
                    <a:rect l="l" t="t" r="r" b="b"/>
                    <a:pathLst>
                      <a:path w="123825" h="66675">
                        <a:moveTo>
                          <a:pt x="0" y="0"/>
                        </a:moveTo>
                        <a:lnTo>
                          <a:pt x="66675" y="66675"/>
                        </a:lnTo>
                        <a:lnTo>
                          <a:pt x="123825" y="66675"/>
                        </a:lnTo>
                        <a:lnTo>
                          <a:pt x="57150" y="0"/>
                        </a:lnTo>
                        <a:close/>
                      </a:path>
                    </a:pathLst>
                  </a:custGeom>
                  <a:grpFill/>
                  <a:ln w="9525" cap="flat">
                    <a:noFill/>
                    <a:prstDash val="solid"/>
                    <a:miter/>
                  </a:ln>
                </p:spPr>
                <p:txBody>
                  <a:bodyPr rtlCol="0" anchor="ctr"/>
                  <a:lstStyle/>
                  <a:p>
                    <a:endParaRPr lang="zh-CN" altLang="en-US"/>
                  </a:p>
                </p:txBody>
              </p:sp>
            </p:grpSp>
            <p:sp>
              <p:nvSpPr>
                <p:cNvPr id="124" name="任意多边形: 形状 123"/>
                <p:cNvSpPr/>
                <p:nvPr/>
              </p:nvSpPr>
              <p:spPr>
                <a:xfrm>
                  <a:off x="2443731" y="5023886"/>
                  <a:ext cx="509113" cy="96319"/>
                </a:xfrm>
                <a:custGeom>
                  <a:avLst/>
                  <a:gdLst>
                    <a:gd name="connsiteX0" fmla="*/ 352425 w 352425"/>
                    <a:gd name="connsiteY0" fmla="*/ 66675 h 66675"/>
                    <a:gd name="connsiteX1" fmla="*/ 66675 w 352425"/>
                    <a:gd name="connsiteY1" fmla="*/ 66675 h 66675"/>
                    <a:gd name="connsiteX2" fmla="*/ 0 w 352425"/>
                    <a:gd name="connsiteY2" fmla="*/ 0 h 66675"/>
                    <a:gd name="connsiteX3" fmla="*/ 285750 w 352425"/>
                    <a:gd name="connsiteY3" fmla="*/ 0 h 66675"/>
                  </a:gdLst>
                  <a:ahLst/>
                  <a:cxnLst>
                    <a:cxn ang="0">
                      <a:pos x="connsiteX0" y="connsiteY0"/>
                    </a:cxn>
                    <a:cxn ang="0">
                      <a:pos x="connsiteX1" y="connsiteY1"/>
                    </a:cxn>
                    <a:cxn ang="0">
                      <a:pos x="connsiteX2" y="connsiteY2"/>
                    </a:cxn>
                    <a:cxn ang="0">
                      <a:pos x="connsiteX3" y="connsiteY3"/>
                    </a:cxn>
                  </a:cxnLst>
                  <a:rect l="l" t="t" r="r" b="b"/>
                  <a:pathLst>
                    <a:path w="352425" h="66675">
                      <a:moveTo>
                        <a:pt x="352425" y="66675"/>
                      </a:moveTo>
                      <a:lnTo>
                        <a:pt x="66675" y="66675"/>
                      </a:lnTo>
                      <a:lnTo>
                        <a:pt x="0" y="0"/>
                      </a:lnTo>
                      <a:lnTo>
                        <a:pt x="285750" y="0"/>
                      </a:lnTo>
                      <a:close/>
                    </a:path>
                  </a:pathLst>
                </a:custGeom>
                <a:solidFill>
                  <a:schemeClr val="accent2"/>
                </a:solidFill>
                <a:ln w="9525" cap="flat">
                  <a:noFill/>
                  <a:prstDash val="solid"/>
                  <a:miter/>
                </a:ln>
              </p:spPr>
              <p:txBody>
                <a:bodyPr rtlCol="0" anchor="ctr"/>
                <a:lstStyle/>
                <a:p>
                  <a:endParaRPr lang="zh-CN" altLang="en-US"/>
                </a:p>
              </p:txBody>
            </p:sp>
            <p:sp>
              <p:nvSpPr>
                <p:cNvPr id="125" name="任意多边形: 形状 124"/>
                <p:cNvSpPr/>
                <p:nvPr/>
              </p:nvSpPr>
              <p:spPr>
                <a:xfrm>
                  <a:off x="1975897" y="5023886"/>
                  <a:ext cx="509113" cy="96319"/>
                </a:xfrm>
                <a:custGeom>
                  <a:avLst/>
                  <a:gdLst>
                    <a:gd name="connsiteX0" fmla="*/ 285750 w 352425"/>
                    <a:gd name="connsiteY0" fmla="*/ 0 h 66675"/>
                    <a:gd name="connsiteX1" fmla="*/ 0 w 352425"/>
                    <a:gd name="connsiteY1" fmla="*/ 0 h 66675"/>
                    <a:gd name="connsiteX2" fmla="*/ 66675 w 352425"/>
                    <a:gd name="connsiteY2" fmla="*/ 66675 h 66675"/>
                    <a:gd name="connsiteX3" fmla="*/ 352425 w 352425"/>
                    <a:gd name="connsiteY3" fmla="*/ 66675 h 66675"/>
                    <a:gd name="connsiteX4" fmla="*/ 285750 w 352425"/>
                    <a:gd name="connsiteY4" fmla="*/ 0 h 66675"/>
                    <a:gd name="connsiteX5" fmla="*/ 28575 w 352425"/>
                    <a:gd name="connsiteY5" fmla="*/ 9525 h 66675"/>
                    <a:gd name="connsiteX6" fmla="*/ 276225 w 352425"/>
                    <a:gd name="connsiteY6" fmla="*/ 9525 h 66675"/>
                    <a:gd name="connsiteX7" fmla="*/ 323850 w 352425"/>
                    <a:gd name="connsiteY7" fmla="*/ 57150 h 66675"/>
                    <a:gd name="connsiteX8" fmla="*/ 76200 w 352425"/>
                    <a:gd name="connsiteY8" fmla="*/ 57150 h 66675"/>
                    <a:gd name="connsiteX9" fmla="*/ 28575 w 352425"/>
                    <a:gd name="connsiteY9" fmla="*/ 9525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2425" h="66675">
                      <a:moveTo>
                        <a:pt x="285750" y="0"/>
                      </a:moveTo>
                      <a:lnTo>
                        <a:pt x="0" y="0"/>
                      </a:lnTo>
                      <a:lnTo>
                        <a:pt x="66675" y="66675"/>
                      </a:lnTo>
                      <a:lnTo>
                        <a:pt x="352425" y="66675"/>
                      </a:lnTo>
                      <a:lnTo>
                        <a:pt x="285750" y="0"/>
                      </a:lnTo>
                      <a:close/>
                      <a:moveTo>
                        <a:pt x="28575" y="9525"/>
                      </a:moveTo>
                      <a:lnTo>
                        <a:pt x="276225" y="9525"/>
                      </a:lnTo>
                      <a:lnTo>
                        <a:pt x="323850" y="57150"/>
                      </a:lnTo>
                      <a:lnTo>
                        <a:pt x="76200" y="57150"/>
                      </a:lnTo>
                      <a:lnTo>
                        <a:pt x="28575" y="9525"/>
                      </a:lnTo>
                      <a:close/>
                    </a:path>
                  </a:pathLst>
                </a:custGeom>
                <a:solidFill>
                  <a:schemeClr val="accent2"/>
                </a:solidFill>
                <a:ln w="9525" cap="flat">
                  <a:noFill/>
                  <a:prstDash val="solid"/>
                  <a:miter/>
                </a:ln>
              </p:spPr>
              <p:txBody>
                <a:bodyPr rtlCol="0" anchor="ctr"/>
                <a:lstStyle/>
                <a:p>
                  <a:endParaRPr lang="zh-CN" altLang="en-US"/>
                </a:p>
              </p:txBody>
            </p:sp>
            <p:sp>
              <p:nvSpPr>
                <p:cNvPr id="126" name="任意多边形: 形状 125"/>
                <p:cNvSpPr/>
                <p:nvPr/>
              </p:nvSpPr>
              <p:spPr>
                <a:xfrm>
                  <a:off x="6406559" y="1634706"/>
                  <a:ext cx="902368" cy="265701"/>
                </a:xfrm>
                <a:custGeom>
                  <a:avLst/>
                  <a:gdLst>
                    <a:gd name="connsiteX0" fmla="*/ 459772 w 624649"/>
                    <a:gd name="connsiteY0" fmla="*/ 0 h 183927"/>
                    <a:gd name="connsiteX1" fmla="*/ 0 w 624649"/>
                    <a:gd name="connsiteY1" fmla="*/ 0 h 183927"/>
                    <a:gd name="connsiteX2" fmla="*/ 164878 w 624649"/>
                    <a:gd name="connsiteY2" fmla="*/ 183928 h 183927"/>
                    <a:gd name="connsiteX3" fmla="*/ 624649 w 624649"/>
                    <a:gd name="connsiteY3" fmla="*/ 183928 h 183927"/>
                    <a:gd name="connsiteX4" fmla="*/ 459772 w 624649"/>
                    <a:gd name="connsiteY4" fmla="*/ 0 h 183927"/>
                    <a:gd name="connsiteX5" fmla="*/ 46006 w 624649"/>
                    <a:gd name="connsiteY5" fmla="*/ 15335 h 183927"/>
                    <a:gd name="connsiteX6" fmla="*/ 444437 w 624649"/>
                    <a:gd name="connsiteY6" fmla="*/ 15335 h 183927"/>
                    <a:gd name="connsiteX7" fmla="*/ 578644 w 624649"/>
                    <a:gd name="connsiteY7" fmla="*/ 168592 h 183927"/>
                    <a:gd name="connsiteX8" fmla="*/ 180213 w 624649"/>
                    <a:gd name="connsiteY8" fmla="*/ 168592 h 183927"/>
                    <a:gd name="connsiteX9" fmla="*/ 46006 w 624649"/>
                    <a:gd name="connsiteY9" fmla="*/ 15335 h 183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4649" h="183927">
                      <a:moveTo>
                        <a:pt x="459772" y="0"/>
                      </a:moveTo>
                      <a:lnTo>
                        <a:pt x="0" y="0"/>
                      </a:lnTo>
                      <a:lnTo>
                        <a:pt x="164878" y="183928"/>
                      </a:lnTo>
                      <a:lnTo>
                        <a:pt x="624649" y="183928"/>
                      </a:lnTo>
                      <a:lnTo>
                        <a:pt x="459772" y="0"/>
                      </a:lnTo>
                      <a:close/>
                      <a:moveTo>
                        <a:pt x="46006" y="15335"/>
                      </a:moveTo>
                      <a:lnTo>
                        <a:pt x="444437" y="15335"/>
                      </a:lnTo>
                      <a:lnTo>
                        <a:pt x="578644" y="168592"/>
                      </a:lnTo>
                      <a:lnTo>
                        <a:pt x="180213" y="168592"/>
                      </a:lnTo>
                      <a:lnTo>
                        <a:pt x="46006" y="15335"/>
                      </a:lnTo>
                      <a:close/>
                    </a:path>
                  </a:pathLst>
                </a:custGeom>
                <a:gradFill>
                  <a:gsLst>
                    <a:gs pos="0">
                      <a:schemeClr val="accent2">
                        <a:lumMod val="60000"/>
                        <a:lumOff val="40000"/>
                      </a:schemeClr>
                    </a:gs>
                    <a:gs pos="80000">
                      <a:schemeClr val="accent2"/>
                    </a:gs>
                  </a:gsLst>
                  <a:lin ang="0" scaled="1"/>
                </a:gradFill>
                <a:ln w="9525" cap="flat">
                  <a:noFill/>
                  <a:prstDash val="solid"/>
                  <a:miter/>
                </a:ln>
              </p:spPr>
              <p:txBody>
                <a:bodyPr rtlCol="0" anchor="ctr"/>
                <a:lstStyle/>
                <a:p>
                  <a:endParaRPr lang="zh-CN" altLang="en-US"/>
                </a:p>
              </p:txBody>
            </p:sp>
            <p:grpSp>
              <p:nvGrpSpPr>
                <p:cNvPr id="127" name="组合 126"/>
                <p:cNvGrpSpPr/>
                <p:nvPr/>
              </p:nvGrpSpPr>
              <p:grpSpPr>
                <a:xfrm>
                  <a:off x="1700700" y="1501372"/>
                  <a:ext cx="1582379" cy="418299"/>
                  <a:chOff x="3055143" y="2178843"/>
                  <a:chExt cx="1095375" cy="289560"/>
                </a:xfrm>
                <a:gradFill>
                  <a:gsLst>
                    <a:gs pos="100000">
                      <a:schemeClr val="accent3"/>
                    </a:gs>
                    <a:gs pos="30000">
                      <a:schemeClr val="accent3">
                        <a:lumMod val="60000"/>
                        <a:lumOff val="40000"/>
                      </a:schemeClr>
                    </a:gs>
                  </a:gsLst>
                  <a:lin ang="5400000" scaled="1"/>
                </a:gradFill>
              </p:grpSpPr>
              <p:sp>
                <p:nvSpPr>
                  <p:cNvPr id="128" name="任意多边形: 形状 127"/>
                  <p:cNvSpPr/>
                  <p:nvPr/>
                </p:nvSpPr>
                <p:spPr>
                  <a:xfrm>
                    <a:off x="3055143" y="2178843"/>
                    <a:ext cx="299942" cy="289560"/>
                  </a:xfrm>
                  <a:custGeom>
                    <a:avLst/>
                    <a:gdLst>
                      <a:gd name="connsiteX0" fmla="*/ 229172 w 299942"/>
                      <a:gd name="connsiteY0" fmla="*/ 0 h 289560"/>
                      <a:gd name="connsiteX1" fmla="*/ 0 w 299942"/>
                      <a:gd name="connsiteY1" fmla="*/ 218789 h 289560"/>
                      <a:gd name="connsiteX2" fmla="*/ 0 w 299942"/>
                      <a:gd name="connsiteY2" fmla="*/ 289560 h 289560"/>
                      <a:gd name="connsiteX3" fmla="*/ 299942 w 299942"/>
                      <a:gd name="connsiteY3" fmla="*/ 0 h 289560"/>
                    </a:gdLst>
                    <a:ahLst/>
                    <a:cxnLst>
                      <a:cxn ang="0">
                        <a:pos x="connsiteX0" y="connsiteY0"/>
                      </a:cxn>
                      <a:cxn ang="0">
                        <a:pos x="connsiteX1" y="connsiteY1"/>
                      </a:cxn>
                      <a:cxn ang="0">
                        <a:pos x="connsiteX2" y="connsiteY2"/>
                      </a:cxn>
                      <a:cxn ang="0">
                        <a:pos x="connsiteX3" y="connsiteY3"/>
                      </a:cxn>
                    </a:cxnLst>
                    <a:rect l="l" t="t" r="r" b="b"/>
                    <a:pathLst>
                      <a:path w="299942" h="289560">
                        <a:moveTo>
                          <a:pt x="229172" y="0"/>
                        </a:moveTo>
                        <a:lnTo>
                          <a:pt x="0" y="218789"/>
                        </a:lnTo>
                        <a:lnTo>
                          <a:pt x="0" y="289560"/>
                        </a:lnTo>
                        <a:lnTo>
                          <a:pt x="299942" y="0"/>
                        </a:lnTo>
                        <a:close/>
                      </a:path>
                    </a:pathLst>
                  </a:custGeom>
                  <a:grpFill/>
                  <a:ln w="9525" cap="flat">
                    <a:noFill/>
                    <a:prstDash val="solid"/>
                    <a:miter/>
                  </a:ln>
                </p:spPr>
                <p:txBody>
                  <a:bodyPr rtlCol="0" anchor="ctr"/>
                  <a:lstStyle/>
                  <a:p>
                    <a:endParaRPr lang="zh-CN" altLang="en-US"/>
                  </a:p>
                </p:txBody>
              </p:sp>
              <p:sp>
                <p:nvSpPr>
                  <p:cNvPr id="129" name="任意多边形: 形状 128"/>
                  <p:cNvSpPr/>
                  <p:nvPr/>
                </p:nvSpPr>
                <p:spPr>
                  <a:xfrm>
                    <a:off x="3272313" y="2178843"/>
                    <a:ext cx="878205" cy="139827"/>
                  </a:xfrm>
                  <a:custGeom>
                    <a:avLst/>
                    <a:gdLst>
                      <a:gd name="connsiteX0" fmla="*/ 878205 w 878205"/>
                      <a:gd name="connsiteY0" fmla="*/ 0 h 139827"/>
                      <a:gd name="connsiteX1" fmla="*/ 144780 w 878205"/>
                      <a:gd name="connsiteY1" fmla="*/ 0 h 139827"/>
                      <a:gd name="connsiteX2" fmla="*/ 126873 w 878205"/>
                      <a:gd name="connsiteY2" fmla="*/ 0 h 139827"/>
                      <a:gd name="connsiteX3" fmla="*/ 119825 w 878205"/>
                      <a:gd name="connsiteY3" fmla="*/ 0 h 139827"/>
                      <a:gd name="connsiteX4" fmla="*/ 0 w 878205"/>
                      <a:gd name="connsiteY4" fmla="*/ 114871 h 139827"/>
                      <a:gd name="connsiteX5" fmla="*/ 0 w 878205"/>
                      <a:gd name="connsiteY5" fmla="*/ 139827 h 139827"/>
                      <a:gd name="connsiteX6" fmla="*/ 134874 w 878205"/>
                      <a:gd name="connsiteY6" fmla="*/ 9525 h 139827"/>
                      <a:gd name="connsiteX7" fmla="*/ 878205 w 878205"/>
                      <a:gd name="connsiteY7" fmla="*/ 9525 h 139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205" h="139827">
                        <a:moveTo>
                          <a:pt x="878205" y="0"/>
                        </a:moveTo>
                        <a:lnTo>
                          <a:pt x="144780" y="0"/>
                        </a:lnTo>
                        <a:lnTo>
                          <a:pt x="126873" y="0"/>
                        </a:lnTo>
                        <a:lnTo>
                          <a:pt x="119825" y="0"/>
                        </a:lnTo>
                        <a:lnTo>
                          <a:pt x="0" y="114871"/>
                        </a:lnTo>
                        <a:lnTo>
                          <a:pt x="0" y="139827"/>
                        </a:lnTo>
                        <a:lnTo>
                          <a:pt x="134874" y="9525"/>
                        </a:lnTo>
                        <a:lnTo>
                          <a:pt x="878205" y="9525"/>
                        </a:lnTo>
                        <a:close/>
                      </a:path>
                    </a:pathLst>
                  </a:custGeom>
                  <a:grpFill/>
                  <a:ln w="9525" cap="flat">
                    <a:noFill/>
                    <a:prstDash val="solid"/>
                    <a:miter/>
                  </a:ln>
                </p:spPr>
                <p:txBody>
                  <a:bodyPr rtlCol="0" anchor="ctr"/>
                  <a:lstStyle/>
                  <a:p>
                    <a:endParaRPr lang="zh-CN" altLang="en-US"/>
                  </a:p>
                </p:txBody>
              </p:sp>
            </p:grpSp>
            <p:grpSp>
              <p:nvGrpSpPr>
                <p:cNvPr id="130" name="组合 129"/>
                <p:cNvGrpSpPr/>
                <p:nvPr/>
              </p:nvGrpSpPr>
              <p:grpSpPr>
                <a:xfrm>
                  <a:off x="8897087" y="4679891"/>
                  <a:ext cx="1582379" cy="418297"/>
                  <a:chOff x="8036718" y="4379118"/>
                  <a:chExt cx="1095375" cy="289559"/>
                </a:xfrm>
                <a:gradFill>
                  <a:gsLst>
                    <a:gs pos="100000">
                      <a:schemeClr val="accent3"/>
                    </a:gs>
                    <a:gs pos="30000">
                      <a:schemeClr val="accent3">
                        <a:lumMod val="60000"/>
                        <a:lumOff val="40000"/>
                      </a:schemeClr>
                    </a:gs>
                  </a:gsLst>
                  <a:lin ang="5400000" scaled="1"/>
                </a:gradFill>
              </p:grpSpPr>
              <p:sp>
                <p:nvSpPr>
                  <p:cNvPr id="131" name="任意多边形: 形状 130"/>
                  <p:cNvSpPr/>
                  <p:nvPr/>
                </p:nvSpPr>
                <p:spPr>
                  <a:xfrm>
                    <a:off x="8832151" y="4379118"/>
                    <a:ext cx="299942" cy="289559"/>
                  </a:xfrm>
                  <a:custGeom>
                    <a:avLst/>
                    <a:gdLst>
                      <a:gd name="connsiteX0" fmla="*/ 70771 w 299942"/>
                      <a:gd name="connsiteY0" fmla="*/ 289560 h 289559"/>
                      <a:gd name="connsiteX1" fmla="*/ 299942 w 299942"/>
                      <a:gd name="connsiteY1" fmla="*/ 70771 h 289559"/>
                      <a:gd name="connsiteX2" fmla="*/ 299942 w 299942"/>
                      <a:gd name="connsiteY2" fmla="*/ 0 h 289559"/>
                      <a:gd name="connsiteX3" fmla="*/ 0 w 299942"/>
                      <a:gd name="connsiteY3" fmla="*/ 289560 h 289559"/>
                    </a:gdLst>
                    <a:ahLst/>
                    <a:cxnLst>
                      <a:cxn ang="0">
                        <a:pos x="connsiteX0" y="connsiteY0"/>
                      </a:cxn>
                      <a:cxn ang="0">
                        <a:pos x="connsiteX1" y="connsiteY1"/>
                      </a:cxn>
                      <a:cxn ang="0">
                        <a:pos x="connsiteX2" y="connsiteY2"/>
                      </a:cxn>
                      <a:cxn ang="0">
                        <a:pos x="connsiteX3" y="connsiteY3"/>
                      </a:cxn>
                    </a:cxnLst>
                    <a:rect l="l" t="t" r="r" b="b"/>
                    <a:pathLst>
                      <a:path w="299942" h="289559">
                        <a:moveTo>
                          <a:pt x="70771" y="289560"/>
                        </a:moveTo>
                        <a:lnTo>
                          <a:pt x="299942" y="70771"/>
                        </a:lnTo>
                        <a:lnTo>
                          <a:pt x="299942" y="0"/>
                        </a:lnTo>
                        <a:lnTo>
                          <a:pt x="0" y="289560"/>
                        </a:lnTo>
                        <a:close/>
                      </a:path>
                    </a:pathLst>
                  </a:custGeom>
                  <a:grpFill/>
                  <a:ln w="9525" cap="flat">
                    <a:noFill/>
                    <a:prstDash val="solid"/>
                    <a:miter/>
                  </a:ln>
                </p:spPr>
                <p:txBody>
                  <a:bodyPr rtlCol="0" anchor="ctr"/>
                  <a:lstStyle/>
                  <a:p>
                    <a:endParaRPr lang="zh-CN" altLang="en-US"/>
                  </a:p>
                </p:txBody>
              </p:sp>
              <p:sp>
                <p:nvSpPr>
                  <p:cNvPr id="132" name="任意多边形: 形状 131"/>
                  <p:cNvSpPr/>
                  <p:nvPr/>
                </p:nvSpPr>
                <p:spPr>
                  <a:xfrm>
                    <a:off x="8036718" y="4528851"/>
                    <a:ext cx="878205" cy="139826"/>
                  </a:xfrm>
                  <a:custGeom>
                    <a:avLst/>
                    <a:gdLst>
                      <a:gd name="connsiteX0" fmla="*/ 0 w 878205"/>
                      <a:gd name="connsiteY0" fmla="*/ 139827 h 139826"/>
                      <a:gd name="connsiteX1" fmla="*/ 733425 w 878205"/>
                      <a:gd name="connsiteY1" fmla="*/ 139827 h 139826"/>
                      <a:gd name="connsiteX2" fmla="*/ 751332 w 878205"/>
                      <a:gd name="connsiteY2" fmla="*/ 139827 h 139826"/>
                      <a:gd name="connsiteX3" fmla="*/ 758380 w 878205"/>
                      <a:gd name="connsiteY3" fmla="*/ 139827 h 139826"/>
                      <a:gd name="connsiteX4" fmla="*/ 878205 w 878205"/>
                      <a:gd name="connsiteY4" fmla="*/ 24955 h 139826"/>
                      <a:gd name="connsiteX5" fmla="*/ 878205 w 878205"/>
                      <a:gd name="connsiteY5" fmla="*/ 0 h 139826"/>
                      <a:gd name="connsiteX6" fmla="*/ 743331 w 878205"/>
                      <a:gd name="connsiteY6" fmla="*/ 130302 h 139826"/>
                      <a:gd name="connsiteX7" fmla="*/ 0 w 878205"/>
                      <a:gd name="connsiteY7" fmla="*/ 130302 h 139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205" h="139826">
                        <a:moveTo>
                          <a:pt x="0" y="139827"/>
                        </a:moveTo>
                        <a:lnTo>
                          <a:pt x="733425" y="139827"/>
                        </a:lnTo>
                        <a:lnTo>
                          <a:pt x="751332" y="139827"/>
                        </a:lnTo>
                        <a:lnTo>
                          <a:pt x="758380" y="139827"/>
                        </a:lnTo>
                        <a:lnTo>
                          <a:pt x="878205" y="24955"/>
                        </a:lnTo>
                        <a:lnTo>
                          <a:pt x="878205" y="0"/>
                        </a:lnTo>
                        <a:lnTo>
                          <a:pt x="743331" y="130302"/>
                        </a:lnTo>
                        <a:lnTo>
                          <a:pt x="0" y="130302"/>
                        </a:lnTo>
                        <a:close/>
                      </a:path>
                    </a:pathLst>
                  </a:custGeom>
                  <a:grpFill/>
                  <a:ln w="9525" cap="flat">
                    <a:noFill/>
                    <a:prstDash val="solid"/>
                    <a:miter/>
                  </a:ln>
                </p:spPr>
                <p:txBody>
                  <a:bodyPr rtlCol="0" anchor="ctr"/>
                  <a:lstStyle/>
                  <a:p>
                    <a:endParaRPr lang="zh-CN" altLang="en-US"/>
                  </a:p>
                </p:txBody>
              </p:sp>
            </p:grpSp>
            <p:grpSp>
              <p:nvGrpSpPr>
                <p:cNvPr id="133" name="组合 132"/>
                <p:cNvGrpSpPr/>
                <p:nvPr/>
              </p:nvGrpSpPr>
              <p:grpSpPr>
                <a:xfrm>
                  <a:off x="7912022" y="1634706"/>
                  <a:ext cx="1920732" cy="265701"/>
                  <a:chOff x="7354824" y="2271141"/>
                  <a:chExt cx="1329594" cy="183927"/>
                </a:xfrm>
                <a:gradFill flip="none" rotWithShape="1">
                  <a:gsLst>
                    <a:gs pos="0">
                      <a:schemeClr val="accent2"/>
                    </a:gs>
                    <a:gs pos="80000">
                      <a:schemeClr val="accent1">
                        <a:alpha val="50000"/>
                      </a:schemeClr>
                    </a:gs>
                  </a:gsLst>
                  <a:lin ang="0" scaled="1"/>
                  <a:tileRect/>
                </a:gradFill>
              </p:grpSpPr>
              <p:sp>
                <p:nvSpPr>
                  <p:cNvPr id="134" name="任意多边形: 形状 133"/>
                  <p:cNvSpPr/>
                  <p:nvPr/>
                </p:nvSpPr>
                <p:spPr>
                  <a:xfrm>
                    <a:off x="8427624" y="2271141"/>
                    <a:ext cx="256794" cy="183927"/>
                  </a:xfrm>
                  <a:custGeom>
                    <a:avLst/>
                    <a:gdLst>
                      <a:gd name="connsiteX0" fmla="*/ 91916 w 256794"/>
                      <a:gd name="connsiteY0" fmla="*/ 0 h 183927"/>
                      <a:gd name="connsiteX1" fmla="*/ 0 w 256794"/>
                      <a:gd name="connsiteY1" fmla="*/ 0 h 183927"/>
                      <a:gd name="connsiteX2" fmla="*/ 164878 w 256794"/>
                      <a:gd name="connsiteY2" fmla="*/ 183928 h 183927"/>
                      <a:gd name="connsiteX3" fmla="*/ 256794 w 256794"/>
                      <a:gd name="connsiteY3" fmla="*/ 183928 h 183927"/>
                    </a:gdLst>
                    <a:ahLst/>
                    <a:cxnLst>
                      <a:cxn ang="0">
                        <a:pos x="connsiteX0" y="connsiteY0"/>
                      </a:cxn>
                      <a:cxn ang="0">
                        <a:pos x="connsiteX1" y="connsiteY1"/>
                      </a:cxn>
                      <a:cxn ang="0">
                        <a:pos x="connsiteX2" y="connsiteY2"/>
                      </a:cxn>
                      <a:cxn ang="0">
                        <a:pos x="connsiteX3" y="connsiteY3"/>
                      </a:cxn>
                    </a:cxnLst>
                    <a:rect l="l" t="t" r="r" b="b"/>
                    <a:pathLst>
                      <a:path w="256794" h="183927">
                        <a:moveTo>
                          <a:pt x="91916" y="0"/>
                        </a:moveTo>
                        <a:lnTo>
                          <a:pt x="0" y="0"/>
                        </a:lnTo>
                        <a:lnTo>
                          <a:pt x="164878" y="183928"/>
                        </a:lnTo>
                        <a:lnTo>
                          <a:pt x="256794" y="183928"/>
                        </a:lnTo>
                        <a:close/>
                      </a:path>
                    </a:pathLst>
                  </a:custGeom>
                  <a:grpFill/>
                  <a:ln w="9525" cap="flat">
                    <a:noFill/>
                    <a:prstDash val="solid"/>
                    <a:miter/>
                  </a:ln>
                </p:spPr>
                <p:txBody>
                  <a:bodyPr rtlCol="0" anchor="ctr"/>
                  <a:lstStyle/>
                  <a:p>
                    <a:endParaRPr lang="zh-CN" altLang="en-US"/>
                  </a:p>
                </p:txBody>
              </p:sp>
              <p:sp>
                <p:nvSpPr>
                  <p:cNvPr id="135" name="任意多边形: 形状 134"/>
                  <p:cNvSpPr/>
                  <p:nvPr/>
                </p:nvSpPr>
                <p:spPr>
                  <a:xfrm>
                    <a:off x="8274367" y="2271141"/>
                    <a:ext cx="256793" cy="183927"/>
                  </a:xfrm>
                  <a:custGeom>
                    <a:avLst/>
                    <a:gdLst>
                      <a:gd name="connsiteX0" fmla="*/ 0 w 256793"/>
                      <a:gd name="connsiteY0" fmla="*/ 0 h 183927"/>
                      <a:gd name="connsiteX1" fmla="*/ 164878 w 256793"/>
                      <a:gd name="connsiteY1" fmla="*/ 183928 h 183927"/>
                      <a:gd name="connsiteX2" fmla="*/ 256794 w 256793"/>
                      <a:gd name="connsiteY2" fmla="*/ 183928 h 183927"/>
                      <a:gd name="connsiteX3" fmla="*/ 91916 w 256793"/>
                      <a:gd name="connsiteY3" fmla="*/ 0 h 183927"/>
                    </a:gdLst>
                    <a:ahLst/>
                    <a:cxnLst>
                      <a:cxn ang="0">
                        <a:pos x="connsiteX0" y="connsiteY0"/>
                      </a:cxn>
                      <a:cxn ang="0">
                        <a:pos x="connsiteX1" y="connsiteY1"/>
                      </a:cxn>
                      <a:cxn ang="0">
                        <a:pos x="connsiteX2" y="connsiteY2"/>
                      </a:cxn>
                      <a:cxn ang="0">
                        <a:pos x="connsiteX3" y="connsiteY3"/>
                      </a:cxn>
                    </a:cxnLst>
                    <a:rect l="l" t="t" r="r" b="b"/>
                    <a:pathLst>
                      <a:path w="256793" h="183927">
                        <a:moveTo>
                          <a:pt x="0" y="0"/>
                        </a:moveTo>
                        <a:lnTo>
                          <a:pt x="164878" y="183928"/>
                        </a:lnTo>
                        <a:lnTo>
                          <a:pt x="256794" y="183928"/>
                        </a:lnTo>
                        <a:lnTo>
                          <a:pt x="91916" y="0"/>
                        </a:lnTo>
                        <a:close/>
                      </a:path>
                    </a:pathLst>
                  </a:custGeom>
                  <a:grpFill/>
                  <a:ln w="9525" cap="flat">
                    <a:noFill/>
                    <a:prstDash val="solid"/>
                    <a:miter/>
                  </a:ln>
                </p:spPr>
                <p:txBody>
                  <a:bodyPr rtlCol="0" anchor="ctr"/>
                  <a:lstStyle/>
                  <a:p>
                    <a:endParaRPr lang="zh-CN" altLang="en-US"/>
                  </a:p>
                </p:txBody>
              </p:sp>
              <p:sp>
                <p:nvSpPr>
                  <p:cNvPr id="136" name="任意多边形: 形状 135"/>
                  <p:cNvSpPr/>
                  <p:nvPr/>
                </p:nvSpPr>
                <p:spPr>
                  <a:xfrm>
                    <a:off x="8121110" y="2271141"/>
                    <a:ext cx="256794" cy="183927"/>
                  </a:xfrm>
                  <a:custGeom>
                    <a:avLst/>
                    <a:gdLst>
                      <a:gd name="connsiteX0" fmla="*/ 0 w 256794"/>
                      <a:gd name="connsiteY0" fmla="*/ 0 h 183927"/>
                      <a:gd name="connsiteX1" fmla="*/ 164878 w 256794"/>
                      <a:gd name="connsiteY1" fmla="*/ 183928 h 183927"/>
                      <a:gd name="connsiteX2" fmla="*/ 256794 w 256794"/>
                      <a:gd name="connsiteY2" fmla="*/ 183928 h 183927"/>
                      <a:gd name="connsiteX3" fmla="*/ 91916 w 256794"/>
                      <a:gd name="connsiteY3" fmla="*/ 0 h 183927"/>
                    </a:gdLst>
                    <a:ahLst/>
                    <a:cxnLst>
                      <a:cxn ang="0">
                        <a:pos x="connsiteX0" y="connsiteY0"/>
                      </a:cxn>
                      <a:cxn ang="0">
                        <a:pos x="connsiteX1" y="connsiteY1"/>
                      </a:cxn>
                      <a:cxn ang="0">
                        <a:pos x="connsiteX2" y="connsiteY2"/>
                      </a:cxn>
                      <a:cxn ang="0">
                        <a:pos x="connsiteX3" y="connsiteY3"/>
                      </a:cxn>
                    </a:cxnLst>
                    <a:rect l="l" t="t" r="r" b="b"/>
                    <a:pathLst>
                      <a:path w="256794" h="183927">
                        <a:moveTo>
                          <a:pt x="0" y="0"/>
                        </a:moveTo>
                        <a:lnTo>
                          <a:pt x="164878" y="183928"/>
                        </a:lnTo>
                        <a:lnTo>
                          <a:pt x="256794" y="183928"/>
                        </a:lnTo>
                        <a:lnTo>
                          <a:pt x="91916" y="0"/>
                        </a:lnTo>
                        <a:close/>
                      </a:path>
                    </a:pathLst>
                  </a:custGeom>
                  <a:grpFill/>
                  <a:ln w="9525" cap="flat">
                    <a:noFill/>
                    <a:prstDash val="solid"/>
                    <a:miter/>
                  </a:ln>
                </p:spPr>
                <p:txBody>
                  <a:bodyPr rtlCol="0" anchor="ctr"/>
                  <a:lstStyle/>
                  <a:p>
                    <a:endParaRPr lang="zh-CN" altLang="en-US"/>
                  </a:p>
                </p:txBody>
              </p:sp>
              <p:sp>
                <p:nvSpPr>
                  <p:cNvPr id="137" name="任意多边形: 形状 136"/>
                  <p:cNvSpPr/>
                  <p:nvPr/>
                </p:nvSpPr>
                <p:spPr>
                  <a:xfrm>
                    <a:off x="7967853" y="2271141"/>
                    <a:ext cx="256793" cy="183927"/>
                  </a:xfrm>
                  <a:custGeom>
                    <a:avLst/>
                    <a:gdLst>
                      <a:gd name="connsiteX0" fmla="*/ 0 w 256793"/>
                      <a:gd name="connsiteY0" fmla="*/ 0 h 183927"/>
                      <a:gd name="connsiteX1" fmla="*/ 164878 w 256793"/>
                      <a:gd name="connsiteY1" fmla="*/ 183928 h 183927"/>
                      <a:gd name="connsiteX2" fmla="*/ 256794 w 256793"/>
                      <a:gd name="connsiteY2" fmla="*/ 183928 h 183927"/>
                      <a:gd name="connsiteX3" fmla="*/ 91916 w 256793"/>
                      <a:gd name="connsiteY3" fmla="*/ 0 h 183927"/>
                    </a:gdLst>
                    <a:ahLst/>
                    <a:cxnLst>
                      <a:cxn ang="0">
                        <a:pos x="connsiteX0" y="connsiteY0"/>
                      </a:cxn>
                      <a:cxn ang="0">
                        <a:pos x="connsiteX1" y="connsiteY1"/>
                      </a:cxn>
                      <a:cxn ang="0">
                        <a:pos x="connsiteX2" y="connsiteY2"/>
                      </a:cxn>
                      <a:cxn ang="0">
                        <a:pos x="connsiteX3" y="connsiteY3"/>
                      </a:cxn>
                    </a:cxnLst>
                    <a:rect l="l" t="t" r="r" b="b"/>
                    <a:pathLst>
                      <a:path w="256793" h="183927">
                        <a:moveTo>
                          <a:pt x="0" y="0"/>
                        </a:moveTo>
                        <a:lnTo>
                          <a:pt x="164878" y="183928"/>
                        </a:lnTo>
                        <a:lnTo>
                          <a:pt x="256794" y="183928"/>
                        </a:lnTo>
                        <a:lnTo>
                          <a:pt x="91916" y="0"/>
                        </a:lnTo>
                        <a:close/>
                      </a:path>
                    </a:pathLst>
                  </a:custGeom>
                  <a:grpFill/>
                  <a:ln w="9525" cap="flat">
                    <a:noFill/>
                    <a:prstDash val="solid"/>
                    <a:miter/>
                  </a:ln>
                </p:spPr>
                <p:txBody>
                  <a:bodyPr rtlCol="0" anchor="ctr"/>
                  <a:lstStyle/>
                  <a:p>
                    <a:endParaRPr lang="zh-CN" altLang="en-US"/>
                  </a:p>
                </p:txBody>
              </p:sp>
              <p:sp>
                <p:nvSpPr>
                  <p:cNvPr id="138" name="任意多边形: 形状 137"/>
                  <p:cNvSpPr/>
                  <p:nvPr/>
                </p:nvSpPr>
                <p:spPr>
                  <a:xfrm>
                    <a:off x="7814595" y="2271141"/>
                    <a:ext cx="256794" cy="183927"/>
                  </a:xfrm>
                  <a:custGeom>
                    <a:avLst/>
                    <a:gdLst>
                      <a:gd name="connsiteX0" fmla="*/ 0 w 256794"/>
                      <a:gd name="connsiteY0" fmla="*/ 0 h 183927"/>
                      <a:gd name="connsiteX1" fmla="*/ 164878 w 256794"/>
                      <a:gd name="connsiteY1" fmla="*/ 183928 h 183927"/>
                      <a:gd name="connsiteX2" fmla="*/ 256794 w 256794"/>
                      <a:gd name="connsiteY2" fmla="*/ 183928 h 183927"/>
                      <a:gd name="connsiteX3" fmla="*/ 91916 w 256794"/>
                      <a:gd name="connsiteY3" fmla="*/ 0 h 183927"/>
                    </a:gdLst>
                    <a:ahLst/>
                    <a:cxnLst>
                      <a:cxn ang="0">
                        <a:pos x="connsiteX0" y="connsiteY0"/>
                      </a:cxn>
                      <a:cxn ang="0">
                        <a:pos x="connsiteX1" y="connsiteY1"/>
                      </a:cxn>
                      <a:cxn ang="0">
                        <a:pos x="connsiteX2" y="connsiteY2"/>
                      </a:cxn>
                      <a:cxn ang="0">
                        <a:pos x="connsiteX3" y="connsiteY3"/>
                      </a:cxn>
                    </a:cxnLst>
                    <a:rect l="l" t="t" r="r" b="b"/>
                    <a:pathLst>
                      <a:path w="256794" h="183927">
                        <a:moveTo>
                          <a:pt x="0" y="0"/>
                        </a:moveTo>
                        <a:lnTo>
                          <a:pt x="164878" y="183928"/>
                        </a:lnTo>
                        <a:lnTo>
                          <a:pt x="256794" y="183928"/>
                        </a:lnTo>
                        <a:lnTo>
                          <a:pt x="91916" y="0"/>
                        </a:lnTo>
                        <a:close/>
                      </a:path>
                    </a:pathLst>
                  </a:custGeom>
                  <a:grpFill/>
                  <a:ln w="9525" cap="flat">
                    <a:noFill/>
                    <a:prstDash val="solid"/>
                    <a:miter/>
                  </a:ln>
                </p:spPr>
                <p:txBody>
                  <a:bodyPr rtlCol="0" anchor="ctr"/>
                  <a:lstStyle/>
                  <a:p>
                    <a:endParaRPr lang="zh-CN" altLang="en-US"/>
                  </a:p>
                </p:txBody>
              </p:sp>
              <p:sp>
                <p:nvSpPr>
                  <p:cNvPr id="139" name="任意多边形: 形状 138"/>
                  <p:cNvSpPr/>
                  <p:nvPr/>
                </p:nvSpPr>
                <p:spPr>
                  <a:xfrm>
                    <a:off x="7661338" y="2271141"/>
                    <a:ext cx="256793" cy="183927"/>
                  </a:xfrm>
                  <a:custGeom>
                    <a:avLst/>
                    <a:gdLst>
                      <a:gd name="connsiteX0" fmla="*/ 0 w 256793"/>
                      <a:gd name="connsiteY0" fmla="*/ 0 h 183927"/>
                      <a:gd name="connsiteX1" fmla="*/ 164878 w 256793"/>
                      <a:gd name="connsiteY1" fmla="*/ 183928 h 183927"/>
                      <a:gd name="connsiteX2" fmla="*/ 256794 w 256793"/>
                      <a:gd name="connsiteY2" fmla="*/ 183928 h 183927"/>
                      <a:gd name="connsiteX3" fmla="*/ 91916 w 256793"/>
                      <a:gd name="connsiteY3" fmla="*/ 0 h 183927"/>
                    </a:gdLst>
                    <a:ahLst/>
                    <a:cxnLst>
                      <a:cxn ang="0">
                        <a:pos x="connsiteX0" y="connsiteY0"/>
                      </a:cxn>
                      <a:cxn ang="0">
                        <a:pos x="connsiteX1" y="connsiteY1"/>
                      </a:cxn>
                      <a:cxn ang="0">
                        <a:pos x="connsiteX2" y="connsiteY2"/>
                      </a:cxn>
                      <a:cxn ang="0">
                        <a:pos x="connsiteX3" y="connsiteY3"/>
                      </a:cxn>
                    </a:cxnLst>
                    <a:rect l="l" t="t" r="r" b="b"/>
                    <a:pathLst>
                      <a:path w="256793" h="183927">
                        <a:moveTo>
                          <a:pt x="0" y="0"/>
                        </a:moveTo>
                        <a:lnTo>
                          <a:pt x="164878" y="183928"/>
                        </a:lnTo>
                        <a:lnTo>
                          <a:pt x="256794" y="183928"/>
                        </a:lnTo>
                        <a:lnTo>
                          <a:pt x="91916" y="0"/>
                        </a:lnTo>
                        <a:close/>
                      </a:path>
                    </a:pathLst>
                  </a:custGeom>
                  <a:grpFill/>
                  <a:ln w="9525" cap="flat">
                    <a:noFill/>
                    <a:prstDash val="solid"/>
                    <a:miter/>
                  </a:ln>
                </p:spPr>
                <p:txBody>
                  <a:bodyPr rtlCol="0" anchor="ctr"/>
                  <a:lstStyle/>
                  <a:p>
                    <a:endParaRPr lang="zh-CN" altLang="en-US"/>
                  </a:p>
                </p:txBody>
              </p:sp>
              <p:sp>
                <p:nvSpPr>
                  <p:cNvPr id="140" name="任意多边形: 形状 139"/>
                  <p:cNvSpPr/>
                  <p:nvPr/>
                </p:nvSpPr>
                <p:spPr>
                  <a:xfrm>
                    <a:off x="7508081" y="2271141"/>
                    <a:ext cx="256793" cy="183927"/>
                  </a:xfrm>
                  <a:custGeom>
                    <a:avLst/>
                    <a:gdLst>
                      <a:gd name="connsiteX0" fmla="*/ 0 w 256793"/>
                      <a:gd name="connsiteY0" fmla="*/ 0 h 183927"/>
                      <a:gd name="connsiteX1" fmla="*/ 164878 w 256793"/>
                      <a:gd name="connsiteY1" fmla="*/ 183928 h 183927"/>
                      <a:gd name="connsiteX2" fmla="*/ 256794 w 256793"/>
                      <a:gd name="connsiteY2" fmla="*/ 183928 h 183927"/>
                      <a:gd name="connsiteX3" fmla="*/ 91916 w 256793"/>
                      <a:gd name="connsiteY3" fmla="*/ 0 h 183927"/>
                    </a:gdLst>
                    <a:ahLst/>
                    <a:cxnLst>
                      <a:cxn ang="0">
                        <a:pos x="connsiteX0" y="connsiteY0"/>
                      </a:cxn>
                      <a:cxn ang="0">
                        <a:pos x="connsiteX1" y="connsiteY1"/>
                      </a:cxn>
                      <a:cxn ang="0">
                        <a:pos x="connsiteX2" y="connsiteY2"/>
                      </a:cxn>
                      <a:cxn ang="0">
                        <a:pos x="connsiteX3" y="connsiteY3"/>
                      </a:cxn>
                    </a:cxnLst>
                    <a:rect l="l" t="t" r="r" b="b"/>
                    <a:pathLst>
                      <a:path w="256793" h="183927">
                        <a:moveTo>
                          <a:pt x="0" y="0"/>
                        </a:moveTo>
                        <a:lnTo>
                          <a:pt x="164878" y="183928"/>
                        </a:lnTo>
                        <a:lnTo>
                          <a:pt x="256794" y="183928"/>
                        </a:lnTo>
                        <a:lnTo>
                          <a:pt x="91916" y="0"/>
                        </a:lnTo>
                        <a:close/>
                      </a:path>
                    </a:pathLst>
                  </a:custGeom>
                  <a:grpFill/>
                  <a:ln w="9525" cap="flat">
                    <a:noFill/>
                    <a:prstDash val="solid"/>
                    <a:miter/>
                  </a:ln>
                </p:spPr>
                <p:txBody>
                  <a:bodyPr rtlCol="0" anchor="ctr"/>
                  <a:lstStyle/>
                  <a:p>
                    <a:endParaRPr lang="zh-CN" altLang="en-US"/>
                  </a:p>
                </p:txBody>
              </p:sp>
              <p:sp>
                <p:nvSpPr>
                  <p:cNvPr id="141" name="任意多边形: 形状 140"/>
                  <p:cNvSpPr/>
                  <p:nvPr/>
                </p:nvSpPr>
                <p:spPr>
                  <a:xfrm>
                    <a:off x="7354824" y="2271141"/>
                    <a:ext cx="256793" cy="183927"/>
                  </a:xfrm>
                  <a:custGeom>
                    <a:avLst/>
                    <a:gdLst>
                      <a:gd name="connsiteX0" fmla="*/ 0 w 256793"/>
                      <a:gd name="connsiteY0" fmla="*/ 0 h 183927"/>
                      <a:gd name="connsiteX1" fmla="*/ 164878 w 256793"/>
                      <a:gd name="connsiteY1" fmla="*/ 183928 h 183927"/>
                      <a:gd name="connsiteX2" fmla="*/ 256794 w 256793"/>
                      <a:gd name="connsiteY2" fmla="*/ 183928 h 183927"/>
                      <a:gd name="connsiteX3" fmla="*/ 91916 w 256793"/>
                      <a:gd name="connsiteY3" fmla="*/ 0 h 183927"/>
                    </a:gdLst>
                    <a:ahLst/>
                    <a:cxnLst>
                      <a:cxn ang="0">
                        <a:pos x="connsiteX0" y="connsiteY0"/>
                      </a:cxn>
                      <a:cxn ang="0">
                        <a:pos x="connsiteX1" y="connsiteY1"/>
                      </a:cxn>
                      <a:cxn ang="0">
                        <a:pos x="connsiteX2" y="connsiteY2"/>
                      </a:cxn>
                      <a:cxn ang="0">
                        <a:pos x="connsiteX3" y="connsiteY3"/>
                      </a:cxn>
                    </a:cxnLst>
                    <a:rect l="l" t="t" r="r" b="b"/>
                    <a:pathLst>
                      <a:path w="256793" h="183927">
                        <a:moveTo>
                          <a:pt x="0" y="0"/>
                        </a:moveTo>
                        <a:lnTo>
                          <a:pt x="164878" y="183928"/>
                        </a:lnTo>
                        <a:lnTo>
                          <a:pt x="256794" y="183928"/>
                        </a:lnTo>
                        <a:lnTo>
                          <a:pt x="91916" y="0"/>
                        </a:lnTo>
                        <a:close/>
                      </a:path>
                    </a:pathLst>
                  </a:custGeom>
                  <a:grpFill/>
                  <a:ln w="9525" cap="flat">
                    <a:noFill/>
                    <a:prstDash val="solid"/>
                    <a:miter/>
                  </a:ln>
                </p:spPr>
                <p:txBody>
                  <a:bodyPr rtlCol="0" anchor="ctr"/>
                  <a:lstStyle/>
                  <a:p>
                    <a:endParaRPr lang="zh-CN" altLang="en-US"/>
                  </a:p>
                </p:txBody>
              </p:sp>
            </p:grpSp>
            <p:sp>
              <p:nvSpPr>
                <p:cNvPr id="142" name="任意多边形: 形状 141"/>
                <p:cNvSpPr/>
                <p:nvPr/>
              </p:nvSpPr>
              <p:spPr>
                <a:xfrm>
                  <a:off x="7159359" y="1634706"/>
                  <a:ext cx="902231" cy="265701"/>
                </a:xfrm>
                <a:custGeom>
                  <a:avLst/>
                  <a:gdLst>
                    <a:gd name="connsiteX0" fmla="*/ 624554 w 624554"/>
                    <a:gd name="connsiteY0" fmla="*/ 183928 h 183927"/>
                    <a:gd name="connsiteX1" fmla="*/ 164783 w 624554"/>
                    <a:gd name="connsiteY1" fmla="*/ 183928 h 183927"/>
                    <a:gd name="connsiteX2" fmla="*/ 0 w 624554"/>
                    <a:gd name="connsiteY2" fmla="*/ 0 h 183927"/>
                    <a:gd name="connsiteX3" fmla="*/ 459677 w 624554"/>
                    <a:gd name="connsiteY3" fmla="*/ 0 h 183927"/>
                  </a:gdLst>
                  <a:ahLst/>
                  <a:cxnLst>
                    <a:cxn ang="0">
                      <a:pos x="connsiteX0" y="connsiteY0"/>
                    </a:cxn>
                    <a:cxn ang="0">
                      <a:pos x="connsiteX1" y="connsiteY1"/>
                    </a:cxn>
                    <a:cxn ang="0">
                      <a:pos x="connsiteX2" y="connsiteY2"/>
                    </a:cxn>
                    <a:cxn ang="0">
                      <a:pos x="connsiteX3" y="connsiteY3"/>
                    </a:cxn>
                  </a:cxnLst>
                  <a:rect l="l" t="t" r="r" b="b"/>
                  <a:pathLst>
                    <a:path w="624554" h="183927">
                      <a:moveTo>
                        <a:pt x="624554" y="183928"/>
                      </a:moveTo>
                      <a:lnTo>
                        <a:pt x="164783" y="183928"/>
                      </a:lnTo>
                      <a:lnTo>
                        <a:pt x="0" y="0"/>
                      </a:lnTo>
                      <a:lnTo>
                        <a:pt x="459677" y="0"/>
                      </a:lnTo>
                      <a:close/>
                    </a:path>
                  </a:pathLst>
                </a:custGeom>
                <a:solidFill>
                  <a:schemeClr val="accent2"/>
                </a:solidFill>
                <a:ln w="9525" cap="flat">
                  <a:noFill/>
                  <a:prstDash val="solid"/>
                  <a:miter/>
                </a:ln>
              </p:spPr>
              <p:txBody>
                <a:bodyPr rtlCol="0" anchor="ctr"/>
                <a:lstStyle/>
                <a:p>
                  <a:endParaRPr lang="zh-CN" altLang="en-US"/>
                </a:p>
              </p:txBody>
            </p:sp>
            <p:sp>
              <p:nvSpPr>
                <p:cNvPr id="143" name="任意多边形: 形状 142"/>
                <p:cNvSpPr/>
                <p:nvPr/>
              </p:nvSpPr>
              <p:spPr>
                <a:xfrm>
                  <a:off x="1539023" y="1339695"/>
                  <a:ext cx="674231" cy="646712"/>
                </a:xfrm>
                <a:custGeom>
                  <a:avLst/>
                  <a:gdLst>
                    <a:gd name="connsiteX0" fmla="*/ 466725 w 466725"/>
                    <a:gd name="connsiteY0" fmla="*/ 57150 h 447675"/>
                    <a:gd name="connsiteX1" fmla="*/ 466725 w 466725"/>
                    <a:gd name="connsiteY1" fmla="*/ 0 h 447675"/>
                    <a:gd name="connsiteX2" fmla="*/ 276225 w 466725"/>
                    <a:gd name="connsiteY2" fmla="*/ 0 h 447675"/>
                    <a:gd name="connsiteX3" fmla="*/ 0 w 466725"/>
                    <a:gd name="connsiteY3" fmla="*/ 266700 h 447675"/>
                    <a:gd name="connsiteX4" fmla="*/ 0 w 466725"/>
                    <a:gd name="connsiteY4" fmla="*/ 285750 h 447675"/>
                    <a:gd name="connsiteX5" fmla="*/ 0 w 466725"/>
                    <a:gd name="connsiteY5" fmla="*/ 323850 h 447675"/>
                    <a:gd name="connsiteX6" fmla="*/ 0 w 466725"/>
                    <a:gd name="connsiteY6" fmla="*/ 447675 h 447675"/>
                    <a:gd name="connsiteX7" fmla="*/ 57150 w 466725"/>
                    <a:gd name="connsiteY7" fmla="*/ 447675 h 447675"/>
                    <a:gd name="connsiteX8" fmla="*/ 57150 w 466725"/>
                    <a:gd name="connsiteY8" fmla="*/ 287274 h 447675"/>
                    <a:gd name="connsiteX9" fmla="*/ 294989 w 466725"/>
                    <a:gd name="connsiteY9" fmla="*/ 57150 h 44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6725" h="447675">
                      <a:moveTo>
                        <a:pt x="466725" y="57150"/>
                      </a:moveTo>
                      <a:lnTo>
                        <a:pt x="466725" y="0"/>
                      </a:lnTo>
                      <a:lnTo>
                        <a:pt x="276225" y="0"/>
                      </a:lnTo>
                      <a:lnTo>
                        <a:pt x="0" y="266700"/>
                      </a:lnTo>
                      <a:lnTo>
                        <a:pt x="0" y="285750"/>
                      </a:lnTo>
                      <a:lnTo>
                        <a:pt x="0" y="323850"/>
                      </a:lnTo>
                      <a:lnTo>
                        <a:pt x="0" y="447675"/>
                      </a:lnTo>
                      <a:lnTo>
                        <a:pt x="57150" y="447675"/>
                      </a:lnTo>
                      <a:lnTo>
                        <a:pt x="57150" y="287274"/>
                      </a:lnTo>
                      <a:lnTo>
                        <a:pt x="294989" y="57150"/>
                      </a:lnTo>
                      <a:close/>
                    </a:path>
                  </a:pathLst>
                </a:custGeom>
                <a:gradFill flip="none" rotWithShape="1">
                  <a:gsLst>
                    <a:gs pos="0">
                      <a:schemeClr val="accent3">
                        <a:lumMod val="60000"/>
                        <a:lumOff val="40000"/>
                      </a:schemeClr>
                    </a:gs>
                    <a:gs pos="70000">
                      <a:schemeClr val="accent3"/>
                    </a:gs>
                  </a:gsLst>
                  <a:lin ang="5400000" scaled="1"/>
                  <a:tileRect/>
                </a:gradFill>
                <a:ln w="9525" cap="flat">
                  <a:noFill/>
                  <a:prstDash val="solid"/>
                  <a:miter/>
                </a:ln>
              </p:spPr>
              <p:txBody>
                <a:bodyPr rtlCol="0" anchor="ctr"/>
                <a:lstStyle/>
                <a:p>
                  <a:endParaRPr lang="zh-CN" altLang="en-US"/>
                </a:p>
              </p:txBody>
            </p:sp>
            <p:sp>
              <p:nvSpPr>
                <p:cNvPr id="144" name="任意多边形: 形状 143"/>
                <p:cNvSpPr/>
                <p:nvPr/>
              </p:nvSpPr>
              <p:spPr>
                <a:xfrm>
                  <a:off x="1539023" y="4605726"/>
                  <a:ext cx="646712" cy="674230"/>
                </a:xfrm>
                <a:custGeom>
                  <a:avLst/>
                  <a:gdLst>
                    <a:gd name="connsiteX0" fmla="*/ 57150 w 447675"/>
                    <a:gd name="connsiteY0" fmla="*/ 0 h 466724"/>
                    <a:gd name="connsiteX1" fmla="*/ 0 w 447675"/>
                    <a:gd name="connsiteY1" fmla="*/ 0 h 466724"/>
                    <a:gd name="connsiteX2" fmla="*/ 0 w 447675"/>
                    <a:gd name="connsiteY2" fmla="*/ 190500 h 466724"/>
                    <a:gd name="connsiteX3" fmla="*/ 266700 w 447675"/>
                    <a:gd name="connsiteY3" fmla="*/ 466725 h 466724"/>
                    <a:gd name="connsiteX4" fmla="*/ 285750 w 447675"/>
                    <a:gd name="connsiteY4" fmla="*/ 466725 h 466724"/>
                    <a:gd name="connsiteX5" fmla="*/ 323850 w 447675"/>
                    <a:gd name="connsiteY5" fmla="*/ 466725 h 466724"/>
                    <a:gd name="connsiteX6" fmla="*/ 447675 w 447675"/>
                    <a:gd name="connsiteY6" fmla="*/ 466725 h 466724"/>
                    <a:gd name="connsiteX7" fmla="*/ 447675 w 447675"/>
                    <a:gd name="connsiteY7" fmla="*/ 409575 h 466724"/>
                    <a:gd name="connsiteX8" fmla="*/ 287274 w 447675"/>
                    <a:gd name="connsiteY8" fmla="*/ 409575 h 466724"/>
                    <a:gd name="connsiteX9" fmla="*/ 57150 w 447675"/>
                    <a:gd name="connsiteY9" fmla="*/ 171831 h 466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7675" h="466724">
                      <a:moveTo>
                        <a:pt x="57150" y="0"/>
                      </a:moveTo>
                      <a:lnTo>
                        <a:pt x="0" y="0"/>
                      </a:lnTo>
                      <a:lnTo>
                        <a:pt x="0" y="190500"/>
                      </a:lnTo>
                      <a:lnTo>
                        <a:pt x="266700" y="466725"/>
                      </a:lnTo>
                      <a:lnTo>
                        <a:pt x="285750" y="466725"/>
                      </a:lnTo>
                      <a:lnTo>
                        <a:pt x="323850" y="466725"/>
                      </a:lnTo>
                      <a:lnTo>
                        <a:pt x="447675" y="466725"/>
                      </a:lnTo>
                      <a:lnTo>
                        <a:pt x="447675" y="409575"/>
                      </a:lnTo>
                      <a:lnTo>
                        <a:pt x="287274" y="409575"/>
                      </a:lnTo>
                      <a:lnTo>
                        <a:pt x="57150" y="171831"/>
                      </a:lnTo>
                      <a:close/>
                    </a:path>
                  </a:pathLst>
                </a:custGeom>
                <a:gradFill flip="none" rotWithShape="1">
                  <a:gsLst>
                    <a:gs pos="0">
                      <a:schemeClr val="accent3">
                        <a:lumMod val="60000"/>
                        <a:lumOff val="40000"/>
                      </a:schemeClr>
                    </a:gs>
                    <a:gs pos="70000">
                      <a:schemeClr val="accent3"/>
                    </a:gs>
                  </a:gsLst>
                  <a:lin ang="5400000" scaled="1"/>
                  <a:tileRect/>
                </a:gradFill>
                <a:ln w="9525" cap="flat">
                  <a:noFill/>
                  <a:prstDash val="solid"/>
                  <a:miter/>
                </a:ln>
              </p:spPr>
              <p:txBody>
                <a:bodyPr rtlCol="0" anchor="ctr"/>
                <a:lstStyle/>
                <a:p>
                  <a:endParaRPr lang="zh-CN" altLang="en-US"/>
                </a:p>
              </p:txBody>
            </p:sp>
            <p:sp>
              <p:nvSpPr>
                <p:cNvPr id="145" name="任意多边形: 形状 144"/>
                <p:cNvSpPr/>
                <p:nvPr/>
              </p:nvSpPr>
              <p:spPr>
                <a:xfrm>
                  <a:off x="10006265" y="4605726"/>
                  <a:ext cx="646712" cy="674230"/>
                </a:xfrm>
                <a:custGeom>
                  <a:avLst/>
                  <a:gdLst>
                    <a:gd name="connsiteX0" fmla="*/ 390525 w 447675"/>
                    <a:gd name="connsiteY0" fmla="*/ 0 h 466724"/>
                    <a:gd name="connsiteX1" fmla="*/ 447675 w 447675"/>
                    <a:gd name="connsiteY1" fmla="*/ 0 h 466724"/>
                    <a:gd name="connsiteX2" fmla="*/ 447675 w 447675"/>
                    <a:gd name="connsiteY2" fmla="*/ 190500 h 466724"/>
                    <a:gd name="connsiteX3" fmla="*/ 180975 w 447675"/>
                    <a:gd name="connsiteY3" fmla="*/ 466725 h 466724"/>
                    <a:gd name="connsiteX4" fmla="*/ 161925 w 447675"/>
                    <a:gd name="connsiteY4" fmla="*/ 466725 h 466724"/>
                    <a:gd name="connsiteX5" fmla="*/ 123825 w 447675"/>
                    <a:gd name="connsiteY5" fmla="*/ 466725 h 466724"/>
                    <a:gd name="connsiteX6" fmla="*/ 0 w 447675"/>
                    <a:gd name="connsiteY6" fmla="*/ 466725 h 466724"/>
                    <a:gd name="connsiteX7" fmla="*/ 0 w 447675"/>
                    <a:gd name="connsiteY7" fmla="*/ 409575 h 466724"/>
                    <a:gd name="connsiteX8" fmla="*/ 160401 w 447675"/>
                    <a:gd name="connsiteY8" fmla="*/ 409575 h 466724"/>
                    <a:gd name="connsiteX9" fmla="*/ 390525 w 447675"/>
                    <a:gd name="connsiteY9" fmla="*/ 171831 h 466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7675" h="466724">
                      <a:moveTo>
                        <a:pt x="390525" y="0"/>
                      </a:moveTo>
                      <a:lnTo>
                        <a:pt x="447675" y="0"/>
                      </a:lnTo>
                      <a:lnTo>
                        <a:pt x="447675" y="190500"/>
                      </a:lnTo>
                      <a:lnTo>
                        <a:pt x="180975" y="466725"/>
                      </a:lnTo>
                      <a:lnTo>
                        <a:pt x="161925" y="466725"/>
                      </a:lnTo>
                      <a:lnTo>
                        <a:pt x="123825" y="466725"/>
                      </a:lnTo>
                      <a:lnTo>
                        <a:pt x="0" y="466725"/>
                      </a:lnTo>
                      <a:lnTo>
                        <a:pt x="0" y="409575"/>
                      </a:lnTo>
                      <a:lnTo>
                        <a:pt x="160401" y="409575"/>
                      </a:lnTo>
                      <a:lnTo>
                        <a:pt x="390525" y="171831"/>
                      </a:lnTo>
                      <a:close/>
                    </a:path>
                  </a:pathLst>
                </a:custGeom>
                <a:gradFill flip="none" rotWithShape="1">
                  <a:gsLst>
                    <a:gs pos="0">
                      <a:schemeClr val="accent3">
                        <a:lumMod val="60000"/>
                        <a:lumOff val="40000"/>
                      </a:schemeClr>
                    </a:gs>
                    <a:gs pos="70000">
                      <a:schemeClr val="accent3"/>
                    </a:gs>
                  </a:gsLst>
                  <a:lin ang="5400000" scaled="1"/>
                  <a:tileRect/>
                </a:gradFill>
                <a:ln w="9525" cap="flat">
                  <a:noFill/>
                  <a:prstDash val="solid"/>
                  <a:miter/>
                </a:ln>
              </p:spPr>
              <p:txBody>
                <a:bodyPr rtlCol="0" anchor="ctr"/>
                <a:lstStyle/>
                <a:p>
                  <a:endParaRPr lang="zh-CN" altLang="en-US"/>
                </a:p>
              </p:txBody>
            </p:sp>
            <p:sp>
              <p:nvSpPr>
                <p:cNvPr id="146" name="任意多边形: 形状 145"/>
                <p:cNvSpPr/>
                <p:nvPr/>
              </p:nvSpPr>
              <p:spPr>
                <a:xfrm>
                  <a:off x="9978746" y="1972647"/>
                  <a:ext cx="674231" cy="646712"/>
                </a:xfrm>
                <a:custGeom>
                  <a:avLst/>
                  <a:gdLst>
                    <a:gd name="connsiteX0" fmla="*/ 0 w 466725"/>
                    <a:gd name="connsiteY0" fmla="*/ 57150 h 447675"/>
                    <a:gd name="connsiteX1" fmla="*/ 0 w 466725"/>
                    <a:gd name="connsiteY1" fmla="*/ 0 h 447675"/>
                    <a:gd name="connsiteX2" fmla="*/ 190500 w 466725"/>
                    <a:gd name="connsiteY2" fmla="*/ 0 h 447675"/>
                    <a:gd name="connsiteX3" fmla="*/ 466725 w 466725"/>
                    <a:gd name="connsiteY3" fmla="*/ 266700 h 447675"/>
                    <a:gd name="connsiteX4" fmla="*/ 466725 w 466725"/>
                    <a:gd name="connsiteY4" fmla="*/ 285750 h 447675"/>
                    <a:gd name="connsiteX5" fmla="*/ 466725 w 466725"/>
                    <a:gd name="connsiteY5" fmla="*/ 323850 h 447675"/>
                    <a:gd name="connsiteX6" fmla="*/ 466725 w 466725"/>
                    <a:gd name="connsiteY6" fmla="*/ 447675 h 447675"/>
                    <a:gd name="connsiteX7" fmla="*/ 409575 w 466725"/>
                    <a:gd name="connsiteY7" fmla="*/ 447675 h 447675"/>
                    <a:gd name="connsiteX8" fmla="*/ 409575 w 466725"/>
                    <a:gd name="connsiteY8" fmla="*/ 287274 h 447675"/>
                    <a:gd name="connsiteX9" fmla="*/ 171831 w 466725"/>
                    <a:gd name="connsiteY9" fmla="*/ 57150 h 44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6725" h="447675">
                      <a:moveTo>
                        <a:pt x="0" y="57150"/>
                      </a:moveTo>
                      <a:lnTo>
                        <a:pt x="0" y="0"/>
                      </a:lnTo>
                      <a:lnTo>
                        <a:pt x="190500" y="0"/>
                      </a:lnTo>
                      <a:lnTo>
                        <a:pt x="466725" y="266700"/>
                      </a:lnTo>
                      <a:lnTo>
                        <a:pt x="466725" y="285750"/>
                      </a:lnTo>
                      <a:lnTo>
                        <a:pt x="466725" y="323850"/>
                      </a:lnTo>
                      <a:lnTo>
                        <a:pt x="466725" y="447675"/>
                      </a:lnTo>
                      <a:lnTo>
                        <a:pt x="409575" y="447675"/>
                      </a:lnTo>
                      <a:lnTo>
                        <a:pt x="409575" y="287274"/>
                      </a:lnTo>
                      <a:lnTo>
                        <a:pt x="171831" y="57150"/>
                      </a:lnTo>
                      <a:close/>
                    </a:path>
                  </a:pathLst>
                </a:custGeom>
                <a:gradFill flip="none" rotWithShape="1">
                  <a:gsLst>
                    <a:gs pos="0">
                      <a:schemeClr val="accent3">
                        <a:lumMod val="60000"/>
                        <a:lumOff val="40000"/>
                      </a:schemeClr>
                    </a:gs>
                    <a:gs pos="70000">
                      <a:schemeClr val="accent3"/>
                    </a:gs>
                  </a:gsLst>
                  <a:lin ang="5400000" scaled="1"/>
                  <a:tileRect/>
                </a:gradFill>
                <a:ln w="9525" cap="flat">
                  <a:noFill/>
                  <a:prstDash val="solid"/>
                  <a:miter/>
                </a:ln>
              </p:spPr>
              <p:txBody>
                <a:bodyPr rtlCol="0" anchor="ctr"/>
                <a:lstStyle/>
                <a:p>
                  <a:endParaRPr lang="zh-CN" altLang="en-US" dirty="0"/>
                </a:p>
              </p:txBody>
            </p:sp>
          </p:grpSp>
        </p:grpSp>
        <p:pic>
          <p:nvPicPr>
            <p:cNvPr id="17" name="图片 16"/>
            <p:cNvPicPr>
              <a:picLocks noChangeAspect="1"/>
            </p:cNvPicPr>
            <p:nvPr/>
          </p:nvPicPr>
          <p:blipFill>
            <a:blip r:embed="rId3" cstate="screen"/>
            <a:stretch>
              <a:fillRect/>
            </a:stretch>
          </p:blipFill>
          <p:spPr>
            <a:xfrm>
              <a:off x="4200491" y="2379423"/>
              <a:ext cx="3662683" cy="2104687"/>
            </a:xfrm>
            <a:prstGeom prst="rect">
              <a:avLst/>
            </a:prstGeom>
          </p:spPr>
        </p:pic>
      </p:grpSp>
      <p:sp>
        <p:nvSpPr>
          <p:cNvPr id="5" name="标题 4"/>
          <p:cNvSpPr>
            <a:spLocks noGrp="1"/>
          </p:cNvSpPr>
          <p:nvPr>
            <p:ph type="title" hasCustomPrompt="1"/>
          </p:nvPr>
        </p:nvSpPr>
        <p:spPr>
          <a:xfrm>
            <a:off x="2051169" y="2084791"/>
            <a:ext cx="8076962" cy="1380758"/>
          </a:xfrm>
          <a:prstGeom prst="rect">
            <a:avLst/>
          </a:prstGeom>
        </p:spPr>
        <p:txBody>
          <a:bodyPr>
            <a:normAutofit/>
          </a:bodyPr>
          <a:lstStyle>
            <a:lvl1pPr algn="ctr">
              <a:lnSpc>
                <a:spcPct val="100000"/>
              </a:lnSpc>
              <a:defRPr sz="4000">
                <a:gradFill flip="none" rotWithShape="1">
                  <a:gsLst>
                    <a:gs pos="0">
                      <a:schemeClr val="accent2">
                        <a:lumMod val="60000"/>
                        <a:lumOff val="40000"/>
                      </a:schemeClr>
                    </a:gs>
                    <a:gs pos="100000">
                      <a:schemeClr val="accent2">
                        <a:lumMod val="60000"/>
                        <a:lumOff val="40000"/>
                      </a:schemeClr>
                    </a:gs>
                    <a:gs pos="50000">
                      <a:schemeClr val="tx1"/>
                    </a:gs>
                  </a:gsLst>
                  <a:lin ang="0" scaled="1"/>
                  <a:tileRect/>
                </a:gradFill>
                <a:effectLst>
                  <a:outerShdw blurRad="254000" dist="127000" dir="5400000" algn="t" rotWithShape="0">
                    <a:schemeClr val="accent1">
                      <a:lumMod val="75000"/>
                      <a:alpha val="40000"/>
                    </a:schemeClr>
                  </a:outerShdw>
                </a:effectLst>
              </a:defRPr>
            </a:lvl1pPr>
          </a:lstStyle>
          <a:p>
            <a:pPr lvl="0"/>
            <a:r>
              <a:rPr lang="en-US"/>
              <a:t>Click to add title</a:t>
            </a:r>
            <a:endParaRPr lang="en-US"/>
          </a:p>
        </p:txBody>
      </p:sp>
      <p:sp>
        <p:nvSpPr>
          <p:cNvPr id="25" name="文本占位符 24"/>
          <p:cNvSpPr>
            <a:spLocks noGrp="1"/>
          </p:cNvSpPr>
          <p:nvPr>
            <p:ph type="body" sz="quarter" idx="1" hasCustomPrompt="1"/>
          </p:nvPr>
        </p:nvSpPr>
        <p:spPr>
          <a:xfrm>
            <a:off x="2051169" y="3668947"/>
            <a:ext cx="8076962" cy="794521"/>
          </a:xfrm>
          <a:prstGeom prst="rect">
            <a:avLst/>
          </a:prstGeom>
        </p:spPr>
        <p:txBody>
          <a:bodyPr anchor="t">
            <a:normAutofit/>
          </a:bodyPr>
          <a:lstStyle>
            <a:lvl1pPr marL="0" indent="0" algn="ctr">
              <a:lnSpc>
                <a:spcPct val="120000"/>
              </a:lnSpc>
              <a:buFont typeface="+mj-lt"/>
              <a:buNone/>
              <a:defRPr sz="2000" b="0">
                <a:solidFill>
                  <a:schemeClr val="accent2">
                    <a:lumMod val="40000"/>
                    <a:lumOff val="60000"/>
                  </a:schemeClr>
                </a:solidFill>
                <a:latin typeface="+mn-lt"/>
              </a:defRPr>
            </a:lvl1pPr>
          </a:lstStyle>
          <a:p>
            <a:pPr lvl="0"/>
            <a:r>
              <a:rPr lang="en-US"/>
              <a:t>Click to add text</a:t>
            </a:r>
            <a:endParaRPr lang="en-US"/>
          </a:p>
        </p:txBody>
      </p:sp>
      <p:sp>
        <p:nvSpPr>
          <p:cNvPr id="4" name="日期占位符 3"/>
          <p:cNvSpPr>
            <a:spLocks noGrp="1"/>
          </p:cNvSpPr>
          <p:nvPr>
            <p:ph type="dt" sz="half" idx="10"/>
          </p:nvPr>
        </p:nvSpPr>
        <p:spPr/>
        <p:txBody>
          <a:bodyPr/>
          <a:lstStyle/>
          <a:p>
            <a:fld id="{2A27A813-B2FD-42E1-9222-83B574E99074}" type="datetime1">
              <a:rPr lang="zh-CN" altLang="en-US" smtClean="0"/>
            </a:fld>
            <a:endParaRPr lang="en-US" altLang="zh-CN"/>
          </a:p>
        </p:txBody>
      </p:sp>
      <p:sp>
        <p:nvSpPr>
          <p:cNvPr id="6" name="页脚占位符 5"/>
          <p:cNvSpPr>
            <a:spLocks noGrp="1"/>
          </p:cNvSpPr>
          <p:nvPr>
            <p:ph type="ftr" sz="quarter" idx="11"/>
          </p:nvPr>
        </p:nvSpPr>
        <p:spPr/>
        <p:txBody>
          <a:bodyPr/>
          <a:lstStyle/>
          <a:p>
            <a:r>
              <a:rPr lang="en-US" altLang="zh-CN" dirty="0"/>
              <a:t>OfficePLUS</a:t>
            </a:r>
            <a:endParaRPr lang="zh-CN" altLang="en-US" dirty="0"/>
          </a:p>
        </p:txBody>
      </p:sp>
      <p:sp>
        <p:nvSpPr>
          <p:cNvPr id="8" name="灯片编号占位符 7"/>
          <p:cNvSpPr>
            <a:spLocks noGrp="1"/>
          </p:cNvSpPr>
          <p:nvPr>
            <p:ph type="sldNum" sz="quarter" idx="12"/>
          </p:nvPr>
        </p:nvSpPr>
        <p:spPr/>
        <p:txBody>
          <a:bodyPr/>
          <a:lstStyle/>
          <a:p>
            <a:fld id="{7F65B630-C7FF-41C0-9923-C5E5E29EED81}" type="slidenum">
              <a:rPr lang="en-US" altLang="zh-CN" smtClean="0"/>
            </a:fld>
            <a:endParaRPr lang="en-US" altLang="zh-CN"/>
          </a:p>
        </p:txBody>
      </p:sp>
    </p:spTree>
  </p:cSld>
  <p:clrMapOvr>
    <a:overrideClrMapping bg1="dk1" tx1="lt1" bg2="dk2" tx2="lt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标题 1"/>
          <p:cNvSpPr>
            <a:spLocks noGrp="1"/>
          </p:cNvSpPr>
          <p:nvPr>
            <p:ph type="title" hasCustomPrompt="1"/>
          </p:nvPr>
        </p:nvSpPr>
        <p:spPr/>
        <p:txBody>
          <a:bodyPr/>
          <a:lstStyle>
            <a:lvl1pPr>
              <a:defRPr/>
            </a:lvl1pPr>
          </a:lstStyle>
          <a:p>
            <a:pPr lvl="0"/>
            <a:r>
              <a:rPr lang="en-US"/>
              <a:t>Click to add title</a:t>
            </a:r>
            <a:endParaRPr lang="en-US"/>
          </a:p>
        </p:txBody>
      </p:sp>
      <p:sp>
        <p:nvSpPr>
          <p:cNvPr id="3" name="日期占位符 2"/>
          <p:cNvSpPr>
            <a:spLocks noGrp="1"/>
          </p:cNvSpPr>
          <p:nvPr>
            <p:ph type="dt" sz="half" idx="10"/>
          </p:nvPr>
        </p:nvSpPr>
        <p:spPr/>
        <p:txBody>
          <a:bodyPr/>
          <a:lstStyle/>
          <a:p>
            <a:endParaRPr lang="en-US"/>
          </a:p>
        </p:txBody>
      </p:sp>
      <p:sp>
        <p:nvSpPr>
          <p:cNvPr id="4" name="页脚占位符 3"/>
          <p:cNvSpPr>
            <a:spLocks noGrp="1"/>
          </p:cNvSpPr>
          <p:nvPr>
            <p:ph type="ftr" sz="quarter" idx="11"/>
          </p:nvPr>
        </p:nvSpPr>
        <p:spPr/>
        <p:txBody>
          <a:bodyPr/>
          <a:lstStyle/>
          <a:p>
            <a:endParaRPr lang="en-US" dirty="0"/>
          </a:p>
        </p:txBody>
      </p:sp>
      <p:sp>
        <p:nvSpPr>
          <p:cNvPr id="5" name="灯片编号占位符 4"/>
          <p:cNvSpPr>
            <a:spLocks noGrp="1"/>
          </p:cNvSpPr>
          <p:nvPr>
            <p:ph type="sldNum" sz="quarter" idx="12"/>
          </p:nvPr>
        </p:nvSpPr>
        <p:spPr/>
        <p:txBody>
          <a:bodyPr/>
          <a:lstStyle/>
          <a:p>
            <a:fld id="{C8BB1146-E542-4D4E-B8E9-6919A11DDD48}" type="slidenum">
              <a:rPr lang="en-US" smtClean="0"/>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showMasterSp="0">
  <p:cSld name="Blank">
    <p:spTree>
      <p:nvGrpSpPr>
        <p:cNvPr id="1" name=""/>
        <p:cNvGrpSpPr/>
        <p:nvPr/>
      </p:nvGrpSpPr>
      <p:grpSpPr>
        <a:xfrm>
          <a:off x="0" y="0"/>
          <a:ext cx="0" cy="0"/>
          <a:chOff x="0" y="0"/>
          <a:chExt cx="0" cy="0"/>
        </a:xfrm>
      </p:grpSpPr>
      <p:grpSp>
        <p:nvGrpSpPr>
          <p:cNvPr id="5" name="组合 4"/>
          <p:cNvGrpSpPr/>
          <p:nvPr/>
        </p:nvGrpSpPr>
        <p:grpSpPr>
          <a:xfrm>
            <a:off x="0" y="0"/>
            <a:ext cx="12192000" cy="6858001"/>
            <a:chOff x="0" y="0"/>
            <a:chExt cx="12192000" cy="6858001"/>
          </a:xfrm>
        </p:grpSpPr>
        <p:sp>
          <p:nvSpPr>
            <p:cNvPr id="6" name="矩形 5"/>
            <p:cNvSpPr/>
            <p:nvPr/>
          </p:nvSpPr>
          <p:spPr>
            <a:xfrm>
              <a:off x="0" y="0"/>
              <a:ext cx="12192000" cy="6858000"/>
            </a:xfrm>
            <a:prstGeom prst="rect">
              <a:avLst/>
            </a:prstGeom>
            <a:blipFill>
              <a:blip r:embed="rId2"/>
              <a:srcRect/>
              <a:stretch>
                <a:fillRect l="-8947" t="-12098" r="-11579" b="-7988"/>
              </a:stretch>
            </a:blipFill>
            <a:ln w="38100">
              <a:noFill/>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noAutofit/>
            </a:bodyPr>
            <a:lstStyle/>
            <a:p>
              <a:pPr lvl="0" algn="ctr"/>
              <a:endParaRPr lang="zh-CN" altLang="en-US"/>
            </a:p>
          </p:txBody>
        </p:sp>
        <p:sp>
          <p:nvSpPr>
            <p:cNvPr id="7" name="矩形 6"/>
            <p:cNvSpPr/>
            <p:nvPr/>
          </p:nvSpPr>
          <p:spPr>
            <a:xfrm>
              <a:off x="0" y="0"/>
              <a:ext cx="12192000" cy="6858001"/>
            </a:xfrm>
            <a:prstGeom prst="rect">
              <a:avLst/>
            </a:prstGeom>
            <a:gradFill flip="none" rotWithShape="1">
              <a:gsLst>
                <a:gs pos="0">
                  <a:schemeClr val="accent1">
                    <a:lumMod val="75000"/>
                  </a:schemeClr>
                </a:gs>
                <a:gs pos="50000">
                  <a:schemeClr val="accent1">
                    <a:alpha val="90000"/>
                  </a:schemeClr>
                </a:gs>
                <a:gs pos="100000">
                  <a:schemeClr val="accent1">
                    <a:lumMod val="50000"/>
                  </a:schemeClr>
                </a:gs>
              </a:gsLst>
              <a:lin ang="8100000" scaled="1"/>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zh-CN" altLang="en-US" dirty="0"/>
            </a:p>
          </p:txBody>
        </p:sp>
      </p:grpSp>
      <p:sp>
        <p:nvSpPr>
          <p:cNvPr id="2" name="日期占位符 1"/>
          <p:cNvSpPr>
            <a:spLocks noGrp="1"/>
          </p:cNvSpPr>
          <p:nvPr>
            <p:ph type="dt" sz="half" idx="10"/>
          </p:nvPr>
        </p:nvSpPr>
        <p:spPr/>
        <p:txBody>
          <a:bodyPr/>
          <a:lstStyle/>
          <a:p>
            <a:endParaRPr lang="en-US"/>
          </a:p>
        </p:txBody>
      </p:sp>
      <p:sp>
        <p:nvSpPr>
          <p:cNvPr id="3" name="页脚占位符 2"/>
          <p:cNvSpPr>
            <a:spLocks noGrp="1"/>
          </p:cNvSpPr>
          <p:nvPr>
            <p:ph type="ftr" sz="quarter" idx="11"/>
          </p:nvPr>
        </p:nvSpPr>
        <p:spPr/>
        <p:txBody>
          <a:bodyPr/>
          <a:lstStyle/>
          <a:p>
            <a:endParaRPr lang="en-US" dirty="0"/>
          </a:p>
        </p:txBody>
      </p:sp>
      <p:sp>
        <p:nvSpPr>
          <p:cNvPr id="4" name="灯片编号占位符 3"/>
          <p:cNvSpPr>
            <a:spLocks noGrp="1"/>
          </p:cNvSpPr>
          <p:nvPr>
            <p:ph type="sldNum" sz="quarter" idx="12"/>
          </p:nvPr>
        </p:nvSpPr>
        <p:spPr/>
        <p:txBody>
          <a:bodyPr/>
          <a:lstStyle/>
          <a:p>
            <a:fld id="{C8BB1146-E542-4D4E-B8E9-6919A11DDD48}" type="slidenum">
              <a:rPr lang="en-US" smtClean="0"/>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showMasterSp="0">
  <p:cSld name="Closing">
    <p:bg>
      <p:bgRef idx="1001">
        <a:schemeClr val="bg1"/>
      </p:bgRef>
    </p:bg>
    <p:spTree>
      <p:nvGrpSpPr>
        <p:cNvPr id="1" name=""/>
        <p:cNvGrpSpPr/>
        <p:nvPr/>
      </p:nvGrpSpPr>
      <p:grpSpPr>
        <a:xfrm>
          <a:off x="0" y="0"/>
          <a:ext cx="0" cy="0"/>
          <a:chOff x="0" y="0"/>
          <a:chExt cx="0" cy="0"/>
        </a:xfrm>
      </p:grpSpPr>
      <p:grpSp>
        <p:nvGrpSpPr>
          <p:cNvPr id="2" name="组合 1"/>
          <p:cNvGrpSpPr/>
          <p:nvPr/>
        </p:nvGrpSpPr>
        <p:grpSpPr>
          <a:xfrm>
            <a:off x="0" y="0"/>
            <a:ext cx="12192000" cy="6858001"/>
            <a:chOff x="0" y="0"/>
            <a:chExt cx="12192000" cy="6858001"/>
          </a:xfrm>
        </p:grpSpPr>
        <p:grpSp>
          <p:nvGrpSpPr>
            <p:cNvPr id="3" name="组合 2"/>
            <p:cNvGrpSpPr/>
            <p:nvPr/>
          </p:nvGrpSpPr>
          <p:grpSpPr>
            <a:xfrm>
              <a:off x="0" y="0"/>
              <a:ext cx="12192000" cy="6858001"/>
              <a:chOff x="0" y="0"/>
              <a:chExt cx="12192000" cy="6858001"/>
            </a:xfrm>
          </p:grpSpPr>
          <p:sp>
            <p:nvSpPr>
              <p:cNvPr id="196" name="矩形 195"/>
              <p:cNvSpPr/>
              <p:nvPr/>
            </p:nvSpPr>
            <p:spPr>
              <a:xfrm>
                <a:off x="0" y="0"/>
                <a:ext cx="12192000" cy="6858000"/>
              </a:xfrm>
              <a:prstGeom prst="rect">
                <a:avLst/>
              </a:prstGeom>
              <a:blipFill>
                <a:blip r:embed="rId2"/>
                <a:srcRect/>
                <a:stretch>
                  <a:fillRect l="-8947" t="-12098" r="-11579" b="-7988"/>
                </a:stretch>
              </a:blipFill>
              <a:ln w="38100">
                <a:noFill/>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noAutofit/>
              </a:bodyPr>
              <a:lstStyle/>
              <a:p>
                <a:pPr lvl="0" algn="ctr"/>
                <a:endParaRPr lang="zh-CN" altLang="en-US"/>
              </a:p>
            </p:txBody>
          </p:sp>
          <p:sp>
            <p:nvSpPr>
              <p:cNvPr id="197" name="矩形 196"/>
              <p:cNvSpPr/>
              <p:nvPr/>
            </p:nvSpPr>
            <p:spPr>
              <a:xfrm>
                <a:off x="0" y="0"/>
                <a:ext cx="12192000" cy="6858001"/>
              </a:xfrm>
              <a:prstGeom prst="rect">
                <a:avLst/>
              </a:prstGeom>
              <a:gradFill flip="none" rotWithShape="1">
                <a:gsLst>
                  <a:gs pos="10000">
                    <a:schemeClr val="accent1">
                      <a:lumMod val="50000"/>
                    </a:schemeClr>
                  </a:gs>
                  <a:gs pos="50000">
                    <a:schemeClr val="accent1">
                      <a:alpha val="80000"/>
                    </a:schemeClr>
                  </a:gs>
                  <a:gs pos="90000">
                    <a:schemeClr val="accent1">
                      <a:lumMod val="50000"/>
                    </a:schemeClr>
                  </a:gs>
                </a:gsLst>
                <a:lin ang="8100000" scaled="1"/>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zh-CN" altLang="en-US" dirty="0"/>
              </a:p>
            </p:txBody>
          </p:sp>
        </p:grpSp>
        <p:grpSp>
          <p:nvGrpSpPr>
            <p:cNvPr id="4" name="组合 3"/>
            <p:cNvGrpSpPr/>
            <p:nvPr/>
          </p:nvGrpSpPr>
          <p:grpSpPr>
            <a:xfrm>
              <a:off x="472134" y="577823"/>
              <a:ext cx="10778191" cy="4522946"/>
              <a:chOff x="1299801" y="1073727"/>
              <a:chExt cx="9683941" cy="4063756"/>
            </a:xfrm>
          </p:grpSpPr>
          <p:sp>
            <p:nvSpPr>
              <p:cNvPr id="189" name="椭圆 188"/>
              <p:cNvSpPr/>
              <p:nvPr/>
            </p:nvSpPr>
            <p:spPr>
              <a:xfrm>
                <a:off x="2726281" y="2025266"/>
                <a:ext cx="706799" cy="706799"/>
              </a:xfrm>
              <a:prstGeom prst="ellipse">
                <a:avLst/>
              </a:prstGeom>
              <a:solidFill>
                <a:schemeClr val="accent2">
                  <a:alpha val="30000"/>
                </a:schemeClr>
              </a:solidFill>
              <a:ln w="3175">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0" name="椭圆 189"/>
              <p:cNvSpPr/>
              <p:nvPr/>
            </p:nvSpPr>
            <p:spPr>
              <a:xfrm>
                <a:off x="7453590" y="1073727"/>
                <a:ext cx="1207736" cy="1207736"/>
              </a:xfrm>
              <a:prstGeom prst="ellipse">
                <a:avLst/>
              </a:prstGeom>
              <a:solidFill>
                <a:schemeClr val="accent3">
                  <a:alpha val="20000"/>
                </a:schemeClr>
              </a:solidFill>
              <a:ln w="3175">
                <a:noFill/>
              </a:ln>
              <a:effectLst>
                <a:softEdge rad="254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1" name="椭圆 190"/>
              <p:cNvSpPr/>
              <p:nvPr/>
            </p:nvSpPr>
            <p:spPr>
              <a:xfrm>
                <a:off x="9444710" y="4691261"/>
                <a:ext cx="446222" cy="446222"/>
              </a:xfrm>
              <a:prstGeom prst="ellipse">
                <a:avLst/>
              </a:prstGeom>
              <a:solidFill>
                <a:schemeClr val="accent2">
                  <a:alpha val="50000"/>
                </a:schemeClr>
              </a:solidFill>
              <a:ln w="3175">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2" name="椭圆 191"/>
              <p:cNvSpPr/>
              <p:nvPr/>
            </p:nvSpPr>
            <p:spPr>
              <a:xfrm>
                <a:off x="10122261" y="3239619"/>
                <a:ext cx="861481" cy="861481"/>
              </a:xfrm>
              <a:prstGeom prst="ellipse">
                <a:avLst/>
              </a:prstGeom>
              <a:solidFill>
                <a:schemeClr val="accent2">
                  <a:alpha val="20000"/>
                </a:schemeClr>
              </a:solidFill>
              <a:ln w="3175">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3" name="椭圆 192"/>
              <p:cNvSpPr/>
              <p:nvPr/>
            </p:nvSpPr>
            <p:spPr>
              <a:xfrm>
                <a:off x="10122263" y="3814606"/>
                <a:ext cx="347743" cy="347743"/>
              </a:xfrm>
              <a:prstGeom prst="ellipse">
                <a:avLst/>
              </a:prstGeom>
              <a:solidFill>
                <a:schemeClr val="accent3">
                  <a:alpha val="45000"/>
                </a:schemeClr>
              </a:solidFill>
              <a:ln w="3175">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4" name="椭圆 193"/>
              <p:cNvSpPr/>
              <p:nvPr/>
            </p:nvSpPr>
            <p:spPr>
              <a:xfrm>
                <a:off x="2129470" y="4471947"/>
                <a:ext cx="334169" cy="334169"/>
              </a:xfrm>
              <a:prstGeom prst="ellipse">
                <a:avLst/>
              </a:prstGeom>
              <a:solidFill>
                <a:schemeClr val="accent3">
                  <a:alpha val="40000"/>
                </a:schemeClr>
              </a:solidFill>
              <a:ln w="3175">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5" name="椭圆 194"/>
              <p:cNvSpPr/>
              <p:nvPr/>
            </p:nvSpPr>
            <p:spPr>
              <a:xfrm>
                <a:off x="1299801" y="3339670"/>
                <a:ext cx="1177662" cy="1177661"/>
              </a:xfrm>
              <a:prstGeom prst="ellipse">
                <a:avLst/>
              </a:prstGeom>
              <a:solidFill>
                <a:schemeClr val="accent1">
                  <a:alpha val="60000"/>
                </a:schemeClr>
              </a:solidFill>
              <a:ln w="3175">
                <a:noFill/>
              </a:ln>
              <a:effectLst>
                <a:softEdge rad="254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6" name="组合 5"/>
            <p:cNvGrpSpPr/>
            <p:nvPr/>
          </p:nvGrpSpPr>
          <p:grpSpPr>
            <a:xfrm>
              <a:off x="1105046" y="1207169"/>
              <a:ext cx="9981909" cy="4443663"/>
              <a:chOff x="1105046" y="1207169"/>
              <a:chExt cx="9981909" cy="4443663"/>
            </a:xfrm>
          </p:grpSpPr>
          <p:sp>
            <p:nvSpPr>
              <p:cNvPr id="8" name="任意多边形: 形状 7"/>
              <p:cNvSpPr/>
              <p:nvPr/>
            </p:nvSpPr>
            <p:spPr>
              <a:xfrm>
                <a:off x="4674680" y="5479294"/>
                <a:ext cx="2238169" cy="81685"/>
              </a:xfrm>
              <a:custGeom>
                <a:avLst/>
                <a:gdLst>
                  <a:gd name="connsiteX0" fmla="*/ 1304925 w 1304925"/>
                  <a:gd name="connsiteY0" fmla="*/ 47625 h 47625"/>
                  <a:gd name="connsiteX1" fmla="*/ 0 w 1304925"/>
                  <a:gd name="connsiteY1" fmla="*/ 47625 h 47625"/>
                  <a:gd name="connsiteX2" fmla="*/ 47625 w 1304925"/>
                  <a:gd name="connsiteY2" fmla="*/ 0 h 47625"/>
                  <a:gd name="connsiteX3" fmla="*/ 1304925 w 1304925"/>
                  <a:gd name="connsiteY3" fmla="*/ 0 h 47625"/>
                </a:gdLst>
                <a:ahLst/>
                <a:cxnLst>
                  <a:cxn ang="0">
                    <a:pos x="connsiteX0" y="connsiteY0"/>
                  </a:cxn>
                  <a:cxn ang="0">
                    <a:pos x="connsiteX1" y="connsiteY1"/>
                  </a:cxn>
                  <a:cxn ang="0">
                    <a:pos x="connsiteX2" y="connsiteY2"/>
                  </a:cxn>
                  <a:cxn ang="0">
                    <a:pos x="connsiteX3" y="connsiteY3"/>
                  </a:cxn>
                </a:cxnLst>
                <a:rect l="l" t="t" r="r" b="b"/>
                <a:pathLst>
                  <a:path w="1304925" h="47625">
                    <a:moveTo>
                      <a:pt x="1304925" y="47625"/>
                    </a:moveTo>
                    <a:lnTo>
                      <a:pt x="0" y="47625"/>
                    </a:lnTo>
                    <a:lnTo>
                      <a:pt x="47625" y="0"/>
                    </a:lnTo>
                    <a:lnTo>
                      <a:pt x="1304925" y="0"/>
                    </a:lnTo>
                    <a:close/>
                  </a:path>
                </a:pathLst>
              </a:custGeom>
              <a:gradFill flip="none" rotWithShape="1">
                <a:gsLst>
                  <a:gs pos="10000">
                    <a:schemeClr val="accent1">
                      <a:alpha val="0"/>
                    </a:schemeClr>
                  </a:gs>
                  <a:gs pos="100000">
                    <a:schemeClr val="accent2"/>
                  </a:gs>
                </a:gsLst>
                <a:lin ang="0" scaled="1"/>
                <a:tileRect/>
              </a:gradFill>
              <a:ln w="9525" cap="flat">
                <a:noFill/>
                <a:prstDash val="solid"/>
                <a:miter/>
              </a:ln>
            </p:spPr>
            <p:txBody>
              <a:bodyPr rtlCol="0" anchor="ctr"/>
              <a:lstStyle/>
              <a:p>
                <a:endParaRPr lang="zh-CN" altLang="en-US"/>
              </a:p>
            </p:txBody>
          </p:sp>
          <p:sp>
            <p:nvSpPr>
              <p:cNvPr id="10" name="任意多边形: 形状 9"/>
              <p:cNvSpPr/>
              <p:nvPr/>
            </p:nvSpPr>
            <p:spPr>
              <a:xfrm>
                <a:off x="7043546" y="5479294"/>
                <a:ext cx="1241612" cy="81685"/>
              </a:xfrm>
              <a:custGeom>
                <a:avLst/>
                <a:gdLst>
                  <a:gd name="connsiteX0" fmla="*/ 0 w 723900"/>
                  <a:gd name="connsiteY0" fmla="*/ 0 h 47625"/>
                  <a:gd name="connsiteX1" fmla="*/ 723900 w 723900"/>
                  <a:gd name="connsiteY1" fmla="*/ 0 h 47625"/>
                  <a:gd name="connsiteX2" fmla="*/ 723900 w 723900"/>
                  <a:gd name="connsiteY2" fmla="*/ 47625 h 47625"/>
                  <a:gd name="connsiteX3" fmla="*/ 0 w 723900"/>
                  <a:gd name="connsiteY3" fmla="*/ 47625 h 47625"/>
                </a:gdLst>
                <a:ahLst/>
                <a:cxnLst>
                  <a:cxn ang="0">
                    <a:pos x="connsiteX0" y="connsiteY0"/>
                  </a:cxn>
                  <a:cxn ang="0">
                    <a:pos x="connsiteX1" y="connsiteY1"/>
                  </a:cxn>
                  <a:cxn ang="0">
                    <a:pos x="connsiteX2" y="connsiteY2"/>
                  </a:cxn>
                  <a:cxn ang="0">
                    <a:pos x="connsiteX3" y="connsiteY3"/>
                  </a:cxn>
                </a:cxnLst>
                <a:rect l="l" t="t" r="r" b="b"/>
                <a:pathLst>
                  <a:path w="723900" h="47625">
                    <a:moveTo>
                      <a:pt x="0" y="0"/>
                    </a:moveTo>
                    <a:lnTo>
                      <a:pt x="723900" y="0"/>
                    </a:lnTo>
                    <a:lnTo>
                      <a:pt x="723900" y="47625"/>
                    </a:lnTo>
                    <a:lnTo>
                      <a:pt x="0" y="47625"/>
                    </a:lnTo>
                    <a:close/>
                  </a:path>
                </a:pathLst>
              </a:custGeom>
              <a:gradFill flip="none" rotWithShape="1">
                <a:gsLst>
                  <a:gs pos="10000">
                    <a:schemeClr val="accent1">
                      <a:alpha val="0"/>
                    </a:schemeClr>
                  </a:gs>
                  <a:gs pos="100000">
                    <a:schemeClr val="accent2"/>
                  </a:gs>
                </a:gsLst>
                <a:lin ang="0" scaled="1"/>
                <a:tileRect/>
              </a:gradFill>
              <a:ln w="9525" cap="flat">
                <a:noFill/>
                <a:prstDash val="solid"/>
                <a:miter/>
              </a:ln>
            </p:spPr>
            <p:txBody>
              <a:bodyPr rtlCol="0" anchor="ctr"/>
              <a:lstStyle/>
              <a:p>
                <a:endParaRPr lang="zh-CN" altLang="en-US"/>
              </a:p>
            </p:txBody>
          </p:sp>
          <p:sp>
            <p:nvSpPr>
              <p:cNvPr id="109" name="任意多边形: 形状 108"/>
              <p:cNvSpPr/>
              <p:nvPr/>
            </p:nvSpPr>
            <p:spPr>
              <a:xfrm>
                <a:off x="4748198" y="5266913"/>
                <a:ext cx="3561467" cy="16337"/>
              </a:xfrm>
              <a:custGeom>
                <a:avLst/>
                <a:gdLst>
                  <a:gd name="connsiteX0" fmla="*/ 0 w 2076450"/>
                  <a:gd name="connsiteY0" fmla="*/ 0 h 9525"/>
                  <a:gd name="connsiteX1" fmla="*/ 2076450 w 2076450"/>
                  <a:gd name="connsiteY1" fmla="*/ 0 h 9525"/>
                  <a:gd name="connsiteX2" fmla="*/ 2076450 w 2076450"/>
                  <a:gd name="connsiteY2" fmla="*/ 9525 h 9525"/>
                  <a:gd name="connsiteX3" fmla="*/ 0 w 2076450"/>
                  <a:gd name="connsiteY3" fmla="*/ 9525 h 9525"/>
                </a:gdLst>
                <a:ahLst/>
                <a:cxnLst>
                  <a:cxn ang="0">
                    <a:pos x="connsiteX0" y="connsiteY0"/>
                  </a:cxn>
                  <a:cxn ang="0">
                    <a:pos x="connsiteX1" y="connsiteY1"/>
                  </a:cxn>
                  <a:cxn ang="0">
                    <a:pos x="connsiteX2" y="connsiteY2"/>
                  </a:cxn>
                  <a:cxn ang="0">
                    <a:pos x="connsiteX3" y="connsiteY3"/>
                  </a:cxn>
                </a:cxnLst>
                <a:rect l="l" t="t" r="r" b="b"/>
                <a:pathLst>
                  <a:path w="2076450" h="9525">
                    <a:moveTo>
                      <a:pt x="0" y="0"/>
                    </a:moveTo>
                    <a:lnTo>
                      <a:pt x="2076450" y="0"/>
                    </a:lnTo>
                    <a:lnTo>
                      <a:pt x="2076450" y="9525"/>
                    </a:lnTo>
                    <a:lnTo>
                      <a:pt x="0" y="9525"/>
                    </a:lnTo>
                    <a:close/>
                  </a:path>
                </a:pathLst>
              </a:custGeom>
              <a:solidFill>
                <a:schemeClr val="accent2">
                  <a:alpha val="50000"/>
                </a:schemeClr>
              </a:solidFill>
              <a:ln w="9525" cap="flat">
                <a:noFill/>
                <a:prstDash val="solid"/>
                <a:miter/>
              </a:ln>
            </p:spPr>
            <p:txBody>
              <a:bodyPr rtlCol="0" anchor="ctr"/>
              <a:lstStyle/>
              <a:p>
                <a:endParaRPr lang="zh-CN" altLang="en-US"/>
              </a:p>
            </p:txBody>
          </p:sp>
          <p:sp>
            <p:nvSpPr>
              <p:cNvPr id="110" name="任意多边形: 形状 109"/>
              <p:cNvSpPr/>
              <p:nvPr/>
            </p:nvSpPr>
            <p:spPr>
              <a:xfrm>
                <a:off x="4813546" y="5332261"/>
                <a:ext cx="326740" cy="65348"/>
              </a:xfrm>
              <a:custGeom>
                <a:avLst/>
                <a:gdLst>
                  <a:gd name="connsiteX0" fmla="*/ 38100 w 190500"/>
                  <a:gd name="connsiteY0" fmla="*/ 0 h 38100"/>
                  <a:gd name="connsiteX1" fmla="*/ 0 w 190500"/>
                  <a:gd name="connsiteY1" fmla="*/ 38100 h 38100"/>
                  <a:gd name="connsiteX2" fmla="*/ 190500 w 190500"/>
                  <a:gd name="connsiteY2" fmla="*/ 38100 h 38100"/>
                  <a:gd name="connsiteX3" fmla="*/ 190500 w 190500"/>
                  <a:gd name="connsiteY3" fmla="*/ 0 h 38100"/>
                  <a:gd name="connsiteX4" fmla="*/ 38100 w 190500"/>
                  <a:gd name="connsiteY4" fmla="*/ 0 h 38100"/>
                  <a:gd name="connsiteX5" fmla="*/ 180975 w 190500"/>
                  <a:gd name="connsiteY5" fmla="*/ 28575 h 38100"/>
                  <a:gd name="connsiteX6" fmla="*/ 28575 w 190500"/>
                  <a:gd name="connsiteY6" fmla="*/ 28575 h 38100"/>
                  <a:gd name="connsiteX7" fmla="*/ 47625 w 190500"/>
                  <a:gd name="connsiteY7" fmla="*/ 9525 h 38100"/>
                  <a:gd name="connsiteX8" fmla="*/ 180975 w 190500"/>
                  <a:gd name="connsiteY8" fmla="*/ 9525 h 38100"/>
                  <a:gd name="connsiteX9" fmla="*/ 180975 w 190500"/>
                  <a:gd name="connsiteY9" fmla="*/ 28575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500" h="38100">
                    <a:moveTo>
                      <a:pt x="38100" y="0"/>
                    </a:moveTo>
                    <a:lnTo>
                      <a:pt x="0" y="38100"/>
                    </a:lnTo>
                    <a:lnTo>
                      <a:pt x="190500" y="38100"/>
                    </a:lnTo>
                    <a:lnTo>
                      <a:pt x="190500" y="0"/>
                    </a:lnTo>
                    <a:lnTo>
                      <a:pt x="38100" y="0"/>
                    </a:lnTo>
                    <a:close/>
                    <a:moveTo>
                      <a:pt x="180975" y="28575"/>
                    </a:moveTo>
                    <a:lnTo>
                      <a:pt x="28575" y="28575"/>
                    </a:lnTo>
                    <a:lnTo>
                      <a:pt x="47625" y="9525"/>
                    </a:lnTo>
                    <a:lnTo>
                      <a:pt x="180975" y="9525"/>
                    </a:lnTo>
                    <a:lnTo>
                      <a:pt x="180975" y="28575"/>
                    </a:lnTo>
                    <a:close/>
                  </a:path>
                </a:pathLst>
              </a:custGeom>
              <a:solidFill>
                <a:schemeClr val="accent2"/>
              </a:solidFill>
              <a:ln w="9525" cap="flat">
                <a:noFill/>
                <a:prstDash val="solid"/>
                <a:miter/>
              </a:ln>
            </p:spPr>
            <p:txBody>
              <a:bodyPr rtlCol="0" anchor="ctr"/>
              <a:lstStyle/>
              <a:p>
                <a:endParaRPr lang="zh-CN" altLang="en-US"/>
              </a:p>
            </p:txBody>
          </p:sp>
          <p:sp>
            <p:nvSpPr>
              <p:cNvPr id="111" name="任意多边形: 形状 110"/>
              <p:cNvSpPr/>
              <p:nvPr/>
            </p:nvSpPr>
            <p:spPr>
              <a:xfrm>
                <a:off x="5537765" y="5332261"/>
                <a:ext cx="261392" cy="65348"/>
              </a:xfrm>
              <a:custGeom>
                <a:avLst/>
                <a:gdLst>
                  <a:gd name="connsiteX0" fmla="*/ 0 w 152400"/>
                  <a:gd name="connsiteY0" fmla="*/ 0 h 38100"/>
                  <a:gd name="connsiteX1" fmla="*/ 0 w 152400"/>
                  <a:gd name="connsiteY1" fmla="*/ 38100 h 38100"/>
                  <a:gd name="connsiteX2" fmla="*/ 152400 w 152400"/>
                  <a:gd name="connsiteY2" fmla="*/ 38100 h 38100"/>
                  <a:gd name="connsiteX3" fmla="*/ 152400 w 152400"/>
                  <a:gd name="connsiteY3" fmla="*/ 0 h 38100"/>
                  <a:gd name="connsiteX4" fmla="*/ 0 w 152400"/>
                  <a:gd name="connsiteY4" fmla="*/ 0 h 38100"/>
                  <a:gd name="connsiteX5" fmla="*/ 142875 w 152400"/>
                  <a:gd name="connsiteY5" fmla="*/ 28575 h 38100"/>
                  <a:gd name="connsiteX6" fmla="*/ 9525 w 152400"/>
                  <a:gd name="connsiteY6" fmla="*/ 28575 h 38100"/>
                  <a:gd name="connsiteX7" fmla="*/ 9525 w 152400"/>
                  <a:gd name="connsiteY7" fmla="*/ 9525 h 38100"/>
                  <a:gd name="connsiteX8" fmla="*/ 142875 w 152400"/>
                  <a:gd name="connsiteY8" fmla="*/ 9525 h 38100"/>
                  <a:gd name="connsiteX9" fmla="*/ 142875 w 152400"/>
                  <a:gd name="connsiteY9" fmla="*/ 28575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2400" h="38100">
                    <a:moveTo>
                      <a:pt x="0" y="0"/>
                    </a:moveTo>
                    <a:lnTo>
                      <a:pt x="0" y="38100"/>
                    </a:lnTo>
                    <a:lnTo>
                      <a:pt x="152400" y="38100"/>
                    </a:lnTo>
                    <a:lnTo>
                      <a:pt x="152400" y="0"/>
                    </a:lnTo>
                    <a:lnTo>
                      <a:pt x="0" y="0"/>
                    </a:lnTo>
                    <a:close/>
                    <a:moveTo>
                      <a:pt x="142875" y="28575"/>
                    </a:moveTo>
                    <a:lnTo>
                      <a:pt x="9525" y="28575"/>
                    </a:lnTo>
                    <a:lnTo>
                      <a:pt x="9525" y="9525"/>
                    </a:lnTo>
                    <a:lnTo>
                      <a:pt x="142875" y="9525"/>
                    </a:lnTo>
                    <a:lnTo>
                      <a:pt x="142875" y="28575"/>
                    </a:lnTo>
                    <a:close/>
                  </a:path>
                </a:pathLst>
              </a:custGeom>
              <a:solidFill>
                <a:schemeClr val="accent2"/>
              </a:solidFill>
              <a:ln w="9525" cap="flat">
                <a:noFill/>
                <a:prstDash val="solid"/>
                <a:miter/>
              </a:ln>
            </p:spPr>
            <p:txBody>
              <a:bodyPr rtlCol="0" anchor="ctr"/>
              <a:lstStyle/>
              <a:p>
                <a:endParaRPr lang="zh-CN" altLang="en-US"/>
              </a:p>
            </p:txBody>
          </p:sp>
          <p:sp>
            <p:nvSpPr>
              <p:cNvPr id="112" name="任意多边形: 形状 111"/>
              <p:cNvSpPr/>
              <p:nvPr/>
            </p:nvSpPr>
            <p:spPr>
              <a:xfrm>
                <a:off x="6196799" y="5332261"/>
                <a:ext cx="261392" cy="65348"/>
              </a:xfrm>
              <a:custGeom>
                <a:avLst/>
                <a:gdLst>
                  <a:gd name="connsiteX0" fmla="*/ 0 w 152400"/>
                  <a:gd name="connsiteY0" fmla="*/ 0 h 38100"/>
                  <a:gd name="connsiteX1" fmla="*/ 0 w 152400"/>
                  <a:gd name="connsiteY1" fmla="*/ 38100 h 38100"/>
                  <a:gd name="connsiteX2" fmla="*/ 152400 w 152400"/>
                  <a:gd name="connsiteY2" fmla="*/ 38100 h 38100"/>
                  <a:gd name="connsiteX3" fmla="*/ 152400 w 152400"/>
                  <a:gd name="connsiteY3" fmla="*/ 0 h 38100"/>
                  <a:gd name="connsiteX4" fmla="*/ 0 w 152400"/>
                  <a:gd name="connsiteY4" fmla="*/ 0 h 38100"/>
                  <a:gd name="connsiteX5" fmla="*/ 142875 w 152400"/>
                  <a:gd name="connsiteY5" fmla="*/ 28575 h 38100"/>
                  <a:gd name="connsiteX6" fmla="*/ 9525 w 152400"/>
                  <a:gd name="connsiteY6" fmla="*/ 28575 h 38100"/>
                  <a:gd name="connsiteX7" fmla="*/ 9525 w 152400"/>
                  <a:gd name="connsiteY7" fmla="*/ 9525 h 38100"/>
                  <a:gd name="connsiteX8" fmla="*/ 142875 w 152400"/>
                  <a:gd name="connsiteY8" fmla="*/ 9525 h 38100"/>
                  <a:gd name="connsiteX9" fmla="*/ 142875 w 152400"/>
                  <a:gd name="connsiteY9" fmla="*/ 28575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2400" h="38100">
                    <a:moveTo>
                      <a:pt x="0" y="0"/>
                    </a:moveTo>
                    <a:lnTo>
                      <a:pt x="0" y="38100"/>
                    </a:lnTo>
                    <a:lnTo>
                      <a:pt x="152400" y="38100"/>
                    </a:lnTo>
                    <a:lnTo>
                      <a:pt x="152400" y="0"/>
                    </a:lnTo>
                    <a:lnTo>
                      <a:pt x="0" y="0"/>
                    </a:lnTo>
                    <a:close/>
                    <a:moveTo>
                      <a:pt x="142875" y="28575"/>
                    </a:moveTo>
                    <a:lnTo>
                      <a:pt x="9525" y="28575"/>
                    </a:lnTo>
                    <a:lnTo>
                      <a:pt x="9525" y="9525"/>
                    </a:lnTo>
                    <a:lnTo>
                      <a:pt x="142875" y="9525"/>
                    </a:lnTo>
                    <a:lnTo>
                      <a:pt x="142875" y="28575"/>
                    </a:lnTo>
                    <a:close/>
                  </a:path>
                </a:pathLst>
              </a:custGeom>
              <a:solidFill>
                <a:schemeClr val="accent2"/>
              </a:solidFill>
              <a:ln w="9525" cap="flat">
                <a:noFill/>
                <a:prstDash val="solid"/>
                <a:miter/>
              </a:ln>
            </p:spPr>
            <p:txBody>
              <a:bodyPr rtlCol="0" anchor="ctr"/>
              <a:lstStyle/>
              <a:p>
                <a:endParaRPr lang="zh-CN" altLang="en-US"/>
              </a:p>
            </p:txBody>
          </p:sp>
          <p:sp>
            <p:nvSpPr>
              <p:cNvPr id="113" name="任意多边形: 形状 112"/>
              <p:cNvSpPr/>
              <p:nvPr/>
            </p:nvSpPr>
            <p:spPr>
              <a:xfrm>
                <a:off x="6855671" y="5332261"/>
                <a:ext cx="261392" cy="65348"/>
              </a:xfrm>
              <a:custGeom>
                <a:avLst/>
                <a:gdLst>
                  <a:gd name="connsiteX0" fmla="*/ 0 w 152400"/>
                  <a:gd name="connsiteY0" fmla="*/ 0 h 38100"/>
                  <a:gd name="connsiteX1" fmla="*/ 0 w 152400"/>
                  <a:gd name="connsiteY1" fmla="*/ 38100 h 38100"/>
                  <a:gd name="connsiteX2" fmla="*/ 152400 w 152400"/>
                  <a:gd name="connsiteY2" fmla="*/ 38100 h 38100"/>
                  <a:gd name="connsiteX3" fmla="*/ 152400 w 152400"/>
                  <a:gd name="connsiteY3" fmla="*/ 0 h 38100"/>
                  <a:gd name="connsiteX4" fmla="*/ 0 w 152400"/>
                  <a:gd name="connsiteY4" fmla="*/ 0 h 38100"/>
                  <a:gd name="connsiteX5" fmla="*/ 142875 w 152400"/>
                  <a:gd name="connsiteY5" fmla="*/ 28575 h 38100"/>
                  <a:gd name="connsiteX6" fmla="*/ 9525 w 152400"/>
                  <a:gd name="connsiteY6" fmla="*/ 28575 h 38100"/>
                  <a:gd name="connsiteX7" fmla="*/ 9525 w 152400"/>
                  <a:gd name="connsiteY7" fmla="*/ 9525 h 38100"/>
                  <a:gd name="connsiteX8" fmla="*/ 142875 w 152400"/>
                  <a:gd name="connsiteY8" fmla="*/ 9525 h 38100"/>
                  <a:gd name="connsiteX9" fmla="*/ 142875 w 152400"/>
                  <a:gd name="connsiteY9" fmla="*/ 28575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2400" h="38100">
                    <a:moveTo>
                      <a:pt x="0" y="0"/>
                    </a:moveTo>
                    <a:lnTo>
                      <a:pt x="0" y="38100"/>
                    </a:lnTo>
                    <a:lnTo>
                      <a:pt x="152400" y="38100"/>
                    </a:lnTo>
                    <a:lnTo>
                      <a:pt x="152400" y="0"/>
                    </a:lnTo>
                    <a:lnTo>
                      <a:pt x="0" y="0"/>
                    </a:lnTo>
                    <a:close/>
                    <a:moveTo>
                      <a:pt x="142875" y="28575"/>
                    </a:moveTo>
                    <a:lnTo>
                      <a:pt x="9525" y="28575"/>
                    </a:lnTo>
                    <a:lnTo>
                      <a:pt x="9525" y="9525"/>
                    </a:lnTo>
                    <a:lnTo>
                      <a:pt x="142875" y="9525"/>
                    </a:lnTo>
                    <a:lnTo>
                      <a:pt x="142875" y="28575"/>
                    </a:lnTo>
                    <a:close/>
                  </a:path>
                </a:pathLst>
              </a:custGeom>
              <a:solidFill>
                <a:schemeClr val="accent2"/>
              </a:solidFill>
              <a:ln w="9525" cap="flat">
                <a:noFill/>
                <a:prstDash val="solid"/>
                <a:miter/>
              </a:ln>
            </p:spPr>
            <p:txBody>
              <a:bodyPr rtlCol="0" anchor="ctr"/>
              <a:lstStyle/>
              <a:p>
                <a:endParaRPr lang="zh-CN" altLang="en-US"/>
              </a:p>
            </p:txBody>
          </p:sp>
          <p:sp>
            <p:nvSpPr>
              <p:cNvPr id="114" name="任意多边形: 形状 113"/>
              <p:cNvSpPr/>
              <p:nvPr/>
            </p:nvSpPr>
            <p:spPr>
              <a:xfrm>
                <a:off x="5208411" y="5332261"/>
                <a:ext cx="261390" cy="65348"/>
              </a:xfrm>
              <a:custGeom>
                <a:avLst/>
                <a:gdLst>
                  <a:gd name="connsiteX0" fmla="*/ 0 w 152399"/>
                  <a:gd name="connsiteY0" fmla="*/ 0 h 38100"/>
                  <a:gd name="connsiteX1" fmla="*/ 152400 w 152399"/>
                  <a:gd name="connsiteY1" fmla="*/ 0 h 38100"/>
                  <a:gd name="connsiteX2" fmla="*/ 152400 w 152399"/>
                  <a:gd name="connsiteY2" fmla="*/ 38100 h 38100"/>
                  <a:gd name="connsiteX3" fmla="*/ 0 w 152399"/>
                  <a:gd name="connsiteY3" fmla="*/ 38100 h 38100"/>
                </a:gdLst>
                <a:ahLst/>
                <a:cxnLst>
                  <a:cxn ang="0">
                    <a:pos x="connsiteX0" y="connsiteY0"/>
                  </a:cxn>
                  <a:cxn ang="0">
                    <a:pos x="connsiteX1" y="connsiteY1"/>
                  </a:cxn>
                  <a:cxn ang="0">
                    <a:pos x="connsiteX2" y="connsiteY2"/>
                  </a:cxn>
                  <a:cxn ang="0">
                    <a:pos x="connsiteX3" y="connsiteY3"/>
                  </a:cxn>
                </a:cxnLst>
                <a:rect l="l" t="t" r="r" b="b"/>
                <a:pathLst>
                  <a:path w="152399" h="38100">
                    <a:moveTo>
                      <a:pt x="0" y="0"/>
                    </a:moveTo>
                    <a:lnTo>
                      <a:pt x="152400" y="0"/>
                    </a:lnTo>
                    <a:lnTo>
                      <a:pt x="152400" y="38100"/>
                    </a:lnTo>
                    <a:lnTo>
                      <a:pt x="0" y="38100"/>
                    </a:lnTo>
                    <a:close/>
                  </a:path>
                </a:pathLst>
              </a:custGeom>
              <a:solidFill>
                <a:schemeClr val="accent2">
                  <a:alpha val="50000"/>
                </a:schemeClr>
              </a:solidFill>
              <a:ln w="9525" cap="flat">
                <a:noFill/>
                <a:prstDash val="solid"/>
                <a:miter/>
              </a:ln>
            </p:spPr>
            <p:txBody>
              <a:bodyPr rtlCol="0" anchor="ctr"/>
              <a:lstStyle/>
              <a:p>
                <a:endParaRPr lang="zh-CN" altLang="en-US"/>
              </a:p>
            </p:txBody>
          </p:sp>
          <p:sp>
            <p:nvSpPr>
              <p:cNvPr id="115" name="任意多边形: 形状 114"/>
              <p:cNvSpPr/>
              <p:nvPr/>
            </p:nvSpPr>
            <p:spPr>
              <a:xfrm>
                <a:off x="5867282" y="5332261"/>
                <a:ext cx="261392" cy="65348"/>
              </a:xfrm>
              <a:custGeom>
                <a:avLst/>
                <a:gdLst>
                  <a:gd name="connsiteX0" fmla="*/ 0 w 152400"/>
                  <a:gd name="connsiteY0" fmla="*/ 0 h 38100"/>
                  <a:gd name="connsiteX1" fmla="*/ 152400 w 152400"/>
                  <a:gd name="connsiteY1" fmla="*/ 0 h 38100"/>
                  <a:gd name="connsiteX2" fmla="*/ 152400 w 152400"/>
                  <a:gd name="connsiteY2" fmla="*/ 38100 h 38100"/>
                  <a:gd name="connsiteX3" fmla="*/ 0 w 152400"/>
                  <a:gd name="connsiteY3" fmla="*/ 38100 h 38100"/>
                </a:gdLst>
                <a:ahLst/>
                <a:cxnLst>
                  <a:cxn ang="0">
                    <a:pos x="connsiteX0" y="connsiteY0"/>
                  </a:cxn>
                  <a:cxn ang="0">
                    <a:pos x="connsiteX1" y="connsiteY1"/>
                  </a:cxn>
                  <a:cxn ang="0">
                    <a:pos x="connsiteX2" y="connsiteY2"/>
                  </a:cxn>
                  <a:cxn ang="0">
                    <a:pos x="connsiteX3" y="connsiteY3"/>
                  </a:cxn>
                </a:cxnLst>
                <a:rect l="l" t="t" r="r" b="b"/>
                <a:pathLst>
                  <a:path w="152400" h="38100">
                    <a:moveTo>
                      <a:pt x="0" y="0"/>
                    </a:moveTo>
                    <a:lnTo>
                      <a:pt x="152400" y="0"/>
                    </a:lnTo>
                    <a:lnTo>
                      <a:pt x="152400" y="38100"/>
                    </a:lnTo>
                    <a:lnTo>
                      <a:pt x="0" y="38100"/>
                    </a:lnTo>
                    <a:close/>
                  </a:path>
                </a:pathLst>
              </a:custGeom>
              <a:solidFill>
                <a:schemeClr val="accent2">
                  <a:alpha val="50000"/>
                </a:schemeClr>
              </a:solidFill>
              <a:ln w="9525" cap="flat">
                <a:noFill/>
                <a:prstDash val="solid"/>
                <a:miter/>
              </a:ln>
            </p:spPr>
            <p:txBody>
              <a:bodyPr rtlCol="0" anchor="ctr"/>
              <a:lstStyle/>
              <a:p>
                <a:endParaRPr lang="zh-CN" altLang="en-US"/>
              </a:p>
            </p:txBody>
          </p:sp>
          <p:sp>
            <p:nvSpPr>
              <p:cNvPr id="116" name="任意多边形: 形状 115"/>
              <p:cNvSpPr/>
              <p:nvPr/>
            </p:nvSpPr>
            <p:spPr>
              <a:xfrm>
                <a:off x="6526153" y="5332261"/>
                <a:ext cx="261392" cy="65348"/>
              </a:xfrm>
              <a:custGeom>
                <a:avLst/>
                <a:gdLst>
                  <a:gd name="connsiteX0" fmla="*/ 0 w 152400"/>
                  <a:gd name="connsiteY0" fmla="*/ 0 h 38100"/>
                  <a:gd name="connsiteX1" fmla="*/ 152400 w 152400"/>
                  <a:gd name="connsiteY1" fmla="*/ 0 h 38100"/>
                  <a:gd name="connsiteX2" fmla="*/ 152400 w 152400"/>
                  <a:gd name="connsiteY2" fmla="*/ 38100 h 38100"/>
                  <a:gd name="connsiteX3" fmla="*/ 0 w 152400"/>
                  <a:gd name="connsiteY3" fmla="*/ 38100 h 38100"/>
                </a:gdLst>
                <a:ahLst/>
                <a:cxnLst>
                  <a:cxn ang="0">
                    <a:pos x="connsiteX0" y="connsiteY0"/>
                  </a:cxn>
                  <a:cxn ang="0">
                    <a:pos x="connsiteX1" y="connsiteY1"/>
                  </a:cxn>
                  <a:cxn ang="0">
                    <a:pos x="connsiteX2" y="connsiteY2"/>
                  </a:cxn>
                  <a:cxn ang="0">
                    <a:pos x="connsiteX3" y="connsiteY3"/>
                  </a:cxn>
                </a:cxnLst>
                <a:rect l="l" t="t" r="r" b="b"/>
                <a:pathLst>
                  <a:path w="152400" h="38100">
                    <a:moveTo>
                      <a:pt x="0" y="0"/>
                    </a:moveTo>
                    <a:lnTo>
                      <a:pt x="152400" y="0"/>
                    </a:lnTo>
                    <a:lnTo>
                      <a:pt x="152400" y="38100"/>
                    </a:lnTo>
                    <a:lnTo>
                      <a:pt x="0" y="38100"/>
                    </a:lnTo>
                    <a:close/>
                  </a:path>
                </a:pathLst>
              </a:custGeom>
              <a:solidFill>
                <a:schemeClr val="accent2">
                  <a:alpha val="50000"/>
                </a:schemeClr>
              </a:solidFill>
              <a:ln w="9525" cap="flat">
                <a:noFill/>
                <a:prstDash val="solid"/>
                <a:miter/>
              </a:ln>
            </p:spPr>
            <p:txBody>
              <a:bodyPr rtlCol="0" anchor="ctr"/>
              <a:lstStyle/>
              <a:p>
                <a:endParaRPr lang="zh-CN" altLang="en-US"/>
              </a:p>
            </p:txBody>
          </p:sp>
          <p:grpSp>
            <p:nvGrpSpPr>
              <p:cNvPr id="117" name="组合 116"/>
              <p:cNvGrpSpPr/>
              <p:nvPr/>
            </p:nvGrpSpPr>
            <p:grpSpPr>
              <a:xfrm>
                <a:off x="7166074" y="5332261"/>
                <a:ext cx="1029231" cy="65348"/>
                <a:chOff x="6719887" y="4538662"/>
                <a:chExt cx="600075" cy="38100"/>
              </a:xfrm>
              <a:gradFill flip="none" rotWithShape="1">
                <a:gsLst>
                  <a:gs pos="0">
                    <a:schemeClr val="accent2"/>
                  </a:gs>
                  <a:gs pos="100000">
                    <a:schemeClr val="accent1">
                      <a:lumMod val="75000"/>
                      <a:alpha val="0"/>
                    </a:schemeClr>
                  </a:gs>
                </a:gsLst>
                <a:lin ang="0" scaled="1"/>
                <a:tileRect/>
              </a:gradFill>
            </p:grpSpPr>
            <p:sp>
              <p:nvSpPr>
                <p:cNvPr id="175" name="任意多边形: 形状 174"/>
                <p:cNvSpPr/>
                <p:nvPr/>
              </p:nvSpPr>
              <p:spPr>
                <a:xfrm>
                  <a:off x="6719887" y="4538662"/>
                  <a:ext cx="19050" cy="38100"/>
                </a:xfrm>
                <a:custGeom>
                  <a:avLst/>
                  <a:gdLst>
                    <a:gd name="connsiteX0" fmla="*/ 0 w 19050"/>
                    <a:gd name="connsiteY0" fmla="*/ 0 h 38100"/>
                    <a:gd name="connsiteX1" fmla="*/ 19050 w 19050"/>
                    <a:gd name="connsiteY1" fmla="*/ 0 h 38100"/>
                    <a:gd name="connsiteX2" fmla="*/ 19050 w 19050"/>
                    <a:gd name="connsiteY2" fmla="*/ 38100 h 38100"/>
                    <a:gd name="connsiteX3" fmla="*/ 0 w 19050"/>
                    <a:gd name="connsiteY3" fmla="*/ 38100 h 38100"/>
                  </a:gdLst>
                  <a:ahLst/>
                  <a:cxnLst>
                    <a:cxn ang="0">
                      <a:pos x="connsiteX0" y="connsiteY0"/>
                    </a:cxn>
                    <a:cxn ang="0">
                      <a:pos x="connsiteX1" y="connsiteY1"/>
                    </a:cxn>
                    <a:cxn ang="0">
                      <a:pos x="connsiteX2" y="connsiteY2"/>
                    </a:cxn>
                    <a:cxn ang="0">
                      <a:pos x="connsiteX3" y="connsiteY3"/>
                    </a:cxn>
                  </a:cxnLst>
                  <a:rect l="l" t="t" r="r" b="b"/>
                  <a:pathLst>
                    <a:path w="19050" h="38100">
                      <a:moveTo>
                        <a:pt x="0" y="0"/>
                      </a:moveTo>
                      <a:lnTo>
                        <a:pt x="19050" y="0"/>
                      </a:lnTo>
                      <a:lnTo>
                        <a:pt x="19050" y="38100"/>
                      </a:lnTo>
                      <a:lnTo>
                        <a:pt x="0" y="38100"/>
                      </a:lnTo>
                      <a:close/>
                    </a:path>
                  </a:pathLst>
                </a:custGeom>
                <a:grpFill/>
                <a:ln w="9525" cap="flat">
                  <a:noFill/>
                  <a:prstDash val="solid"/>
                  <a:miter/>
                </a:ln>
              </p:spPr>
              <p:txBody>
                <a:bodyPr rtlCol="0" anchor="ctr"/>
                <a:lstStyle/>
                <a:p>
                  <a:endParaRPr lang="zh-CN" altLang="en-US"/>
                </a:p>
              </p:txBody>
            </p:sp>
            <p:sp>
              <p:nvSpPr>
                <p:cNvPr id="176" name="任意多边形: 形状 175"/>
                <p:cNvSpPr/>
                <p:nvPr/>
              </p:nvSpPr>
              <p:spPr>
                <a:xfrm>
                  <a:off x="6764559" y="4538662"/>
                  <a:ext cx="19050" cy="38100"/>
                </a:xfrm>
                <a:custGeom>
                  <a:avLst/>
                  <a:gdLst>
                    <a:gd name="connsiteX0" fmla="*/ 0 w 19050"/>
                    <a:gd name="connsiteY0" fmla="*/ 0 h 38100"/>
                    <a:gd name="connsiteX1" fmla="*/ 19050 w 19050"/>
                    <a:gd name="connsiteY1" fmla="*/ 0 h 38100"/>
                    <a:gd name="connsiteX2" fmla="*/ 19050 w 19050"/>
                    <a:gd name="connsiteY2" fmla="*/ 38100 h 38100"/>
                    <a:gd name="connsiteX3" fmla="*/ 0 w 19050"/>
                    <a:gd name="connsiteY3" fmla="*/ 38100 h 38100"/>
                  </a:gdLst>
                  <a:ahLst/>
                  <a:cxnLst>
                    <a:cxn ang="0">
                      <a:pos x="connsiteX0" y="connsiteY0"/>
                    </a:cxn>
                    <a:cxn ang="0">
                      <a:pos x="connsiteX1" y="connsiteY1"/>
                    </a:cxn>
                    <a:cxn ang="0">
                      <a:pos x="connsiteX2" y="connsiteY2"/>
                    </a:cxn>
                    <a:cxn ang="0">
                      <a:pos x="connsiteX3" y="connsiteY3"/>
                    </a:cxn>
                  </a:cxnLst>
                  <a:rect l="l" t="t" r="r" b="b"/>
                  <a:pathLst>
                    <a:path w="19050" h="38100">
                      <a:moveTo>
                        <a:pt x="0" y="0"/>
                      </a:moveTo>
                      <a:lnTo>
                        <a:pt x="19050" y="0"/>
                      </a:lnTo>
                      <a:lnTo>
                        <a:pt x="19050" y="38100"/>
                      </a:lnTo>
                      <a:lnTo>
                        <a:pt x="0" y="38100"/>
                      </a:lnTo>
                      <a:close/>
                    </a:path>
                  </a:pathLst>
                </a:custGeom>
                <a:grpFill/>
                <a:ln w="9525" cap="flat">
                  <a:noFill/>
                  <a:prstDash val="solid"/>
                  <a:miter/>
                </a:ln>
              </p:spPr>
              <p:txBody>
                <a:bodyPr rtlCol="0" anchor="ctr"/>
                <a:lstStyle/>
                <a:p>
                  <a:endParaRPr lang="zh-CN" altLang="en-US"/>
                </a:p>
              </p:txBody>
            </p:sp>
            <p:sp>
              <p:nvSpPr>
                <p:cNvPr id="177" name="任意多边形: 形状 176"/>
                <p:cNvSpPr/>
                <p:nvPr/>
              </p:nvSpPr>
              <p:spPr>
                <a:xfrm>
                  <a:off x="6809231" y="4538662"/>
                  <a:ext cx="19050" cy="38100"/>
                </a:xfrm>
                <a:custGeom>
                  <a:avLst/>
                  <a:gdLst>
                    <a:gd name="connsiteX0" fmla="*/ 0 w 19050"/>
                    <a:gd name="connsiteY0" fmla="*/ 0 h 38100"/>
                    <a:gd name="connsiteX1" fmla="*/ 19050 w 19050"/>
                    <a:gd name="connsiteY1" fmla="*/ 0 h 38100"/>
                    <a:gd name="connsiteX2" fmla="*/ 19050 w 19050"/>
                    <a:gd name="connsiteY2" fmla="*/ 38100 h 38100"/>
                    <a:gd name="connsiteX3" fmla="*/ 0 w 19050"/>
                    <a:gd name="connsiteY3" fmla="*/ 38100 h 38100"/>
                  </a:gdLst>
                  <a:ahLst/>
                  <a:cxnLst>
                    <a:cxn ang="0">
                      <a:pos x="connsiteX0" y="connsiteY0"/>
                    </a:cxn>
                    <a:cxn ang="0">
                      <a:pos x="connsiteX1" y="connsiteY1"/>
                    </a:cxn>
                    <a:cxn ang="0">
                      <a:pos x="connsiteX2" y="connsiteY2"/>
                    </a:cxn>
                    <a:cxn ang="0">
                      <a:pos x="connsiteX3" y="connsiteY3"/>
                    </a:cxn>
                  </a:cxnLst>
                  <a:rect l="l" t="t" r="r" b="b"/>
                  <a:pathLst>
                    <a:path w="19050" h="38100">
                      <a:moveTo>
                        <a:pt x="0" y="0"/>
                      </a:moveTo>
                      <a:lnTo>
                        <a:pt x="19050" y="0"/>
                      </a:lnTo>
                      <a:lnTo>
                        <a:pt x="19050" y="38100"/>
                      </a:lnTo>
                      <a:lnTo>
                        <a:pt x="0" y="38100"/>
                      </a:lnTo>
                      <a:close/>
                    </a:path>
                  </a:pathLst>
                </a:custGeom>
                <a:grpFill/>
                <a:ln w="9525" cap="flat">
                  <a:noFill/>
                  <a:prstDash val="solid"/>
                  <a:miter/>
                </a:ln>
              </p:spPr>
              <p:txBody>
                <a:bodyPr rtlCol="0" anchor="ctr"/>
                <a:lstStyle/>
                <a:p>
                  <a:endParaRPr lang="zh-CN" altLang="en-US"/>
                </a:p>
              </p:txBody>
            </p:sp>
            <p:sp>
              <p:nvSpPr>
                <p:cNvPr id="178" name="任意多边形: 形状 177"/>
                <p:cNvSpPr/>
                <p:nvPr/>
              </p:nvSpPr>
              <p:spPr>
                <a:xfrm>
                  <a:off x="6853999" y="4538662"/>
                  <a:ext cx="19050" cy="38100"/>
                </a:xfrm>
                <a:custGeom>
                  <a:avLst/>
                  <a:gdLst>
                    <a:gd name="connsiteX0" fmla="*/ 0 w 19050"/>
                    <a:gd name="connsiteY0" fmla="*/ 0 h 38100"/>
                    <a:gd name="connsiteX1" fmla="*/ 19050 w 19050"/>
                    <a:gd name="connsiteY1" fmla="*/ 0 h 38100"/>
                    <a:gd name="connsiteX2" fmla="*/ 19050 w 19050"/>
                    <a:gd name="connsiteY2" fmla="*/ 38100 h 38100"/>
                    <a:gd name="connsiteX3" fmla="*/ 0 w 19050"/>
                    <a:gd name="connsiteY3" fmla="*/ 38100 h 38100"/>
                  </a:gdLst>
                  <a:ahLst/>
                  <a:cxnLst>
                    <a:cxn ang="0">
                      <a:pos x="connsiteX0" y="connsiteY0"/>
                    </a:cxn>
                    <a:cxn ang="0">
                      <a:pos x="connsiteX1" y="connsiteY1"/>
                    </a:cxn>
                    <a:cxn ang="0">
                      <a:pos x="connsiteX2" y="connsiteY2"/>
                    </a:cxn>
                    <a:cxn ang="0">
                      <a:pos x="connsiteX3" y="connsiteY3"/>
                    </a:cxn>
                  </a:cxnLst>
                  <a:rect l="l" t="t" r="r" b="b"/>
                  <a:pathLst>
                    <a:path w="19050" h="38100">
                      <a:moveTo>
                        <a:pt x="0" y="0"/>
                      </a:moveTo>
                      <a:lnTo>
                        <a:pt x="19050" y="0"/>
                      </a:lnTo>
                      <a:lnTo>
                        <a:pt x="19050" y="38100"/>
                      </a:lnTo>
                      <a:lnTo>
                        <a:pt x="0" y="38100"/>
                      </a:lnTo>
                      <a:close/>
                    </a:path>
                  </a:pathLst>
                </a:custGeom>
                <a:grpFill/>
                <a:ln w="9525" cap="flat">
                  <a:noFill/>
                  <a:prstDash val="solid"/>
                  <a:miter/>
                </a:ln>
              </p:spPr>
              <p:txBody>
                <a:bodyPr rtlCol="0" anchor="ctr"/>
                <a:lstStyle/>
                <a:p>
                  <a:endParaRPr lang="zh-CN" altLang="en-US"/>
                </a:p>
              </p:txBody>
            </p:sp>
            <p:sp>
              <p:nvSpPr>
                <p:cNvPr id="179" name="任意多边形: 形状 178"/>
                <p:cNvSpPr/>
                <p:nvPr/>
              </p:nvSpPr>
              <p:spPr>
                <a:xfrm>
                  <a:off x="6898671" y="4538662"/>
                  <a:ext cx="19050" cy="38100"/>
                </a:xfrm>
                <a:custGeom>
                  <a:avLst/>
                  <a:gdLst>
                    <a:gd name="connsiteX0" fmla="*/ 0 w 19050"/>
                    <a:gd name="connsiteY0" fmla="*/ 0 h 38100"/>
                    <a:gd name="connsiteX1" fmla="*/ 19050 w 19050"/>
                    <a:gd name="connsiteY1" fmla="*/ 0 h 38100"/>
                    <a:gd name="connsiteX2" fmla="*/ 19050 w 19050"/>
                    <a:gd name="connsiteY2" fmla="*/ 38100 h 38100"/>
                    <a:gd name="connsiteX3" fmla="*/ 0 w 19050"/>
                    <a:gd name="connsiteY3" fmla="*/ 38100 h 38100"/>
                  </a:gdLst>
                  <a:ahLst/>
                  <a:cxnLst>
                    <a:cxn ang="0">
                      <a:pos x="connsiteX0" y="connsiteY0"/>
                    </a:cxn>
                    <a:cxn ang="0">
                      <a:pos x="connsiteX1" y="connsiteY1"/>
                    </a:cxn>
                    <a:cxn ang="0">
                      <a:pos x="connsiteX2" y="connsiteY2"/>
                    </a:cxn>
                    <a:cxn ang="0">
                      <a:pos x="connsiteX3" y="connsiteY3"/>
                    </a:cxn>
                  </a:cxnLst>
                  <a:rect l="l" t="t" r="r" b="b"/>
                  <a:pathLst>
                    <a:path w="19050" h="38100">
                      <a:moveTo>
                        <a:pt x="0" y="0"/>
                      </a:moveTo>
                      <a:lnTo>
                        <a:pt x="19050" y="0"/>
                      </a:lnTo>
                      <a:lnTo>
                        <a:pt x="19050" y="38100"/>
                      </a:lnTo>
                      <a:lnTo>
                        <a:pt x="0" y="38100"/>
                      </a:lnTo>
                      <a:close/>
                    </a:path>
                  </a:pathLst>
                </a:custGeom>
                <a:grpFill/>
                <a:ln w="9525" cap="flat">
                  <a:noFill/>
                  <a:prstDash val="solid"/>
                  <a:miter/>
                </a:ln>
              </p:spPr>
              <p:txBody>
                <a:bodyPr rtlCol="0" anchor="ctr"/>
                <a:lstStyle/>
                <a:p>
                  <a:endParaRPr lang="zh-CN" altLang="en-US"/>
                </a:p>
              </p:txBody>
            </p:sp>
            <p:sp>
              <p:nvSpPr>
                <p:cNvPr id="180" name="任意多边形: 形状 179"/>
                <p:cNvSpPr/>
                <p:nvPr/>
              </p:nvSpPr>
              <p:spPr>
                <a:xfrm>
                  <a:off x="6943343" y="4538662"/>
                  <a:ext cx="19050" cy="38100"/>
                </a:xfrm>
                <a:custGeom>
                  <a:avLst/>
                  <a:gdLst>
                    <a:gd name="connsiteX0" fmla="*/ 0 w 19050"/>
                    <a:gd name="connsiteY0" fmla="*/ 0 h 38100"/>
                    <a:gd name="connsiteX1" fmla="*/ 19050 w 19050"/>
                    <a:gd name="connsiteY1" fmla="*/ 0 h 38100"/>
                    <a:gd name="connsiteX2" fmla="*/ 19050 w 19050"/>
                    <a:gd name="connsiteY2" fmla="*/ 38100 h 38100"/>
                    <a:gd name="connsiteX3" fmla="*/ 0 w 19050"/>
                    <a:gd name="connsiteY3" fmla="*/ 38100 h 38100"/>
                  </a:gdLst>
                  <a:ahLst/>
                  <a:cxnLst>
                    <a:cxn ang="0">
                      <a:pos x="connsiteX0" y="connsiteY0"/>
                    </a:cxn>
                    <a:cxn ang="0">
                      <a:pos x="connsiteX1" y="connsiteY1"/>
                    </a:cxn>
                    <a:cxn ang="0">
                      <a:pos x="connsiteX2" y="connsiteY2"/>
                    </a:cxn>
                    <a:cxn ang="0">
                      <a:pos x="connsiteX3" y="connsiteY3"/>
                    </a:cxn>
                  </a:cxnLst>
                  <a:rect l="l" t="t" r="r" b="b"/>
                  <a:pathLst>
                    <a:path w="19050" h="38100">
                      <a:moveTo>
                        <a:pt x="0" y="0"/>
                      </a:moveTo>
                      <a:lnTo>
                        <a:pt x="19050" y="0"/>
                      </a:lnTo>
                      <a:lnTo>
                        <a:pt x="19050" y="38100"/>
                      </a:lnTo>
                      <a:lnTo>
                        <a:pt x="0" y="38100"/>
                      </a:lnTo>
                      <a:close/>
                    </a:path>
                  </a:pathLst>
                </a:custGeom>
                <a:grpFill/>
                <a:ln w="9525" cap="flat">
                  <a:noFill/>
                  <a:prstDash val="solid"/>
                  <a:miter/>
                </a:ln>
              </p:spPr>
              <p:txBody>
                <a:bodyPr rtlCol="0" anchor="ctr"/>
                <a:lstStyle/>
                <a:p>
                  <a:endParaRPr lang="zh-CN" altLang="en-US"/>
                </a:p>
              </p:txBody>
            </p:sp>
            <p:sp>
              <p:nvSpPr>
                <p:cNvPr id="181" name="任意多边形: 形状 180"/>
                <p:cNvSpPr/>
                <p:nvPr/>
              </p:nvSpPr>
              <p:spPr>
                <a:xfrm>
                  <a:off x="6988015" y="4538662"/>
                  <a:ext cx="19050" cy="38100"/>
                </a:xfrm>
                <a:custGeom>
                  <a:avLst/>
                  <a:gdLst>
                    <a:gd name="connsiteX0" fmla="*/ 0 w 19050"/>
                    <a:gd name="connsiteY0" fmla="*/ 0 h 38100"/>
                    <a:gd name="connsiteX1" fmla="*/ 19050 w 19050"/>
                    <a:gd name="connsiteY1" fmla="*/ 0 h 38100"/>
                    <a:gd name="connsiteX2" fmla="*/ 19050 w 19050"/>
                    <a:gd name="connsiteY2" fmla="*/ 38100 h 38100"/>
                    <a:gd name="connsiteX3" fmla="*/ 0 w 19050"/>
                    <a:gd name="connsiteY3" fmla="*/ 38100 h 38100"/>
                  </a:gdLst>
                  <a:ahLst/>
                  <a:cxnLst>
                    <a:cxn ang="0">
                      <a:pos x="connsiteX0" y="connsiteY0"/>
                    </a:cxn>
                    <a:cxn ang="0">
                      <a:pos x="connsiteX1" y="connsiteY1"/>
                    </a:cxn>
                    <a:cxn ang="0">
                      <a:pos x="connsiteX2" y="connsiteY2"/>
                    </a:cxn>
                    <a:cxn ang="0">
                      <a:pos x="connsiteX3" y="connsiteY3"/>
                    </a:cxn>
                  </a:cxnLst>
                  <a:rect l="l" t="t" r="r" b="b"/>
                  <a:pathLst>
                    <a:path w="19050" h="38100">
                      <a:moveTo>
                        <a:pt x="0" y="0"/>
                      </a:moveTo>
                      <a:lnTo>
                        <a:pt x="19050" y="0"/>
                      </a:lnTo>
                      <a:lnTo>
                        <a:pt x="19050" y="38100"/>
                      </a:lnTo>
                      <a:lnTo>
                        <a:pt x="0" y="38100"/>
                      </a:lnTo>
                      <a:close/>
                    </a:path>
                  </a:pathLst>
                </a:custGeom>
                <a:grpFill/>
                <a:ln w="9525" cap="flat">
                  <a:noFill/>
                  <a:prstDash val="solid"/>
                  <a:miter/>
                </a:ln>
              </p:spPr>
              <p:txBody>
                <a:bodyPr rtlCol="0" anchor="ctr"/>
                <a:lstStyle/>
                <a:p>
                  <a:endParaRPr lang="zh-CN" altLang="en-US"/>
                </a:p>
              </p:txBody>
            </p:sp>
            <p:sp>
              <p:nvSpPr>
                <p:cNvPr id="182" name="任意多边形: 形状 181"/>
                <p:cNvSpPr/>
                <p:nvPr/>
              </p:nvSpPr>
              <p:spPr>
                <a:xfrm>
                  <a:off x="7032783" y="4538662"/>
                  <a:ext cx="19050" cy="38100"/>
                </a:xfrm>
                <a:custGeom>
                  <a:avLst/>
                  <a:gdLst>
                    <a:gd name="connsiteX0" fmla="*/ 0 w 19050"/>
                    <a:gd name="connsiteY0" fmla="*/ 0 h 38100"/>
                    <a:gd name="connsiteX1" fmla="*/ 19050 w 19050"/>
                    <a:gd name="connsiteY1" fmla="*/ 0 h 38100"/>
                    <a:gd name="connsiteX2" fmla="*/ 19050 w 19050"/>
                    <a:gd name="connsiteY2" fmla="*/ 38100 h 38100"/>
                    <a:gd name="connsiteX3" fmla="*/ 0 w 19050"/>
                    <a:gd name="connsiteY3" fmla="*/ 38100 h 38100"/>
                  </a:gdLst>
                  <a:ahLst/>
                  <a:cxnLst>
                    <a:cxn ang="0">
                      <a:pos x="connsiteX0" y="connsiteY0"/>
                    </a:cxn>
                    <a:cxn ang="0">
                      <a:pos x="connsiteX1" y="connsiteY1"/>
                    </a:cxn>
                    <a:cxn ang="0">
                      <a:pos x="connsiteX2" y="connsiteY2"/>
                    </a:cxn>
                    <a:cxn ang="0">
                      <a:pos x="connsiteX3" y="connsiteY3"/>
                    </a:cxn>
                  </a:cxnLst>
                  <a:rect l="l" t="t" r="r" b="b"/>
                  <a:pathLst>
                    <a:path w="19050" h="38100">
                      <a:moveTo>
                        <a:pt x="0" y="0"/>
                      </a:moveTo>
                      <a:lnTo>
                        <a:pt x="19050" y="0"/>
                      </a:lnTo>
                      <a:lnTo>
                        <a:pt x="19050" y="38100"/>
                      </a:lnTo>
                      <a:lnTo>
                        <a:pt x="0" y="38100"/>
                      </a:lnTo>
                      <a:close/>
                    </a:path>
                  </a:pathLst>
                </a:custGeom>
                <a:grpFill/>
                <a:ln w="9525" cap="flat">
                  <a:noFill/>
                  <a:prstDash val="solid"/>
                  <a:miter/>
                </a:ln>
              </p:spPr>
              <p:txBody>
                <a:bodyPr rtlCol="0" anchor="ctr"/>
                <a:lstStyle/>
                <a:p>
                  <a:endParaRPr lang="zh-CN" altLang="en-US"/>
                </a:p>
              </p:txBody>
            </p:sp>
            <p:sp>
              <p:nvSpPr>
                <p:cNvPr id="183" name="任意多边形: 形状 182"/>
                <p:cNvSpPr/>
                <p:nvPr/>
              </p:nvSpPr>
              <p:spPr>
                <a:xfrm>
                  <a:off x="7077455" y="4538662"/>
                  <a:ext cx="19050" cy="38100"/>
                </a:xfrm>
                <a:custGeom>
                  <a:avLst/>
                  <a:gdLst>
                    <a:gd name="connsiteX0" fmla="*/ 0 w 19050"/>
                    <a:gd name="connsiteY0" fmla="*/ 0 h 38100"/>
                    <a:gd name="connsiteX1" fmla="*/ 19050 w 19050"/>
                    <a:gd name="connsiteY1" fmla="*/ 0 h 38100"/>
                    <a:gd name="connsiteX2" fmla="*/ 19050 w 19050"/>
                    <a:gd name="connsiteY2" fmla="*/ 38100 h 38100"/>
                    <a:gd name="connsiteX3" fmla="*/ 0 w 19050"/>
                    <a:gd name="connsiteY3" fmla="*/ 38100 h 38100"/>
                  </a:gdLst>
                  <a:ahLst/>
                  <a:cxnLst>
                    <a:cxn ang="0">
                      <a:pos x="connsiteX0" y="connsiteY0"/>
                    </a:cxn>
                    <a:cxn ang="0">
                      <a:pos x="connsiteX1" y="connsiteY1"/>
                    </a:cxn>
                    <a:cxn ang="0">
                      <a:pos x="connsiteX2" y="connsiteY2"/>
                    </a:cxn>
                    <a:cxn ang="0">
                      <a:pos x="connsiteX3" y="connsiteY3"/>
                    </a:cxn>
                  </a:cxnLst>
                  <a:rect l="l" t="t" r="r" b="b"/>
                  <a:pathLst>
                    <a:path w="19050" h="38100">
                      <a:moveTo>
                        <a:pt x="0" y="0"/>
                      </a:moveTo>
                      <a:lnTo>
                        <a:pt x="19050" y="0"/>
                      </a:lnTo>
                      <a:lnTo>
                        <a:pt x="19050" y="38100"/>
                      </a:lnTo>
                      <a:lnTo>
                        <a:pt x="0" y="38100"/>
                      </a:lnTo>
                      <a:close/>
                    </a:path>
                  </a:pathLst>
                </a:custGeom>
                <a:grpFill/>
                <a:ln w="9525" cap="flat">
                  <a:noFill/>
                  <a:prstDash val="solid"/>
                  <a:miter/>
                </a:ln>
              </p:spPr>
              <p:txBody>
                <a:bodyPr rtlCol="0" anchor="ctr"/>
                <a:lstStyle/>
                <a:p>
                  <a:endParaRPr lang="zh-CN" altLang="en-US"/>
                </a:p>
              </p:txBody>
            </p:sp>
            <p:sp>
              <p:nvSpPr>
                <p:cNvPr id="184" name="任意多边形: 形状 183"/>
                <p:cNvSpPr/>
                <p:nvPr/>
              </p:nvSpPr>
              <p:spPr>
                <a:xfrm>
                  <a:off x="7122127" y="4538662"/>
                  <a:ext cx="19050" cy="38100"/>
                </a:xfrm>
                <a:custGeom>
                  <a:avLst/>
                  <a:gdLst>
                    <a:gd name="connsiteX0" fmla="*/ 0 w 19050"/>
                    <a:gd name="connsiteY0" fmla="*/ 0 h 38100"/>
                    <a:gd name="connsiteX1" fmla="*/ 19050 w 19050"/>
                    <a:gd name="connsiteY1" fmla="*/ 0 h 38100"/>
                    <a:gd name="connsiteX2" fmla="*/ 19050 w 19050"/>
                    <a:gd name="connsiteY2" fmla="*/ 38100 h 38100"/>
                    <a:gd name="connsiteX3" fmla="*/ 0 w 19050"/>
                    <a:gd name="connsiteY3" fmla="*/ 38100 h 38100"/>
                  </a:gdLst>
                  <a:ahLst/>
                  <a:cxnLst>
                    <a:cxn ang="0">
                      <a:pos x="connsiteX0" y="connsiteY0"/>
                    </a:cxn>
                    <a:cxn ang="0">
                      <a:pos x="connsiteX1" y="connsiteY1"/>
                    </a:cxn>
                    <a:cxn ang="0">
                      <a:pos x="connsiteX2" y="connsiteY2"/>
                    </a:cxn>
                    <a:cxn ang="0">
                      <a:pos x="connsiteX3" y="connsiteY3"/>
                    </a:cxn>
                  </a:cxnLst>
                  <a:rect l="l" t="t" r="r" b="b"/>
                  <a:pathLst>
                    <a:path w="19050" h="38100">
                      <a:moveTo>
                        <a:pt x="0" y="0"/>
                      </a:moveTo>
                      <a:lnTo>
                        <a:pt x="19050" y="0"/>
                      </a:lnTo>
                      <a:lnTo>
                        <a:pt x="19050" y="38100"/>
                      </a:lnTo>
                      <a:lnTo>
                        <a:pt x="0" y="38100"/>
                      </a:lnTo>
                      <a:close/>
                    </a:path>
                  </a:pathLst>
                </a:custGeom>
                <a:grpFill/>
                <a:ln w="9525" cap="flat">
                  <a:noFill/>
                  <a:prstDash val="solid"/>
                  <a:miter/>
                </a:ln>
              </p:spPr>
              <p:txBody>
                <a:bodyPr rtlCol="0" anchor="ctr"/>
                <a:lstStyle/>
                <a:p>
                  <a:endParaRPr lang="zh-CN" altLang="en-US"/>
                </a:p>
              </p:txBody>
            </p:sp>
            <p:sp>
              <p:nvSpPr>
                <p:cNvPr id="185" name="任意多边形: 形状 184"/>
                <p:cNvSpPr/>
                <p:nvPr/>
              </p:nvSpPr>
              <p:spPr>
                <a:xfrm>
                  <a:off x="7166800" y="4538662"/>
                  <a:ext cx="19050" cy="38100"/>
                </a:xfrm>
                <a:custGeom>
                  <a:avLst/>
                  <a:gdLst>
                    <a:gd name="connsiteX0" fmla="*/ 0 w 19050"/>
                    <a:gd name="connsiteY0" fmla="*/ 0 h 38100"/>
                    <a:gd name="connsiteX1" fmla="*/ 19050 w 19050"/>
                    <a:gd name="connsiteY1" fmla="*/ 0 h 38100"/>
                    <a:gd name="connsiteX2" fmla="*/ 19050 w 19050"/>
                    <a:gd name="connsiteY2" fmla="*/ 38100 h 38100"/>
                    <a:gd name="connsiteX3" fmla="*/ 0 w 19050"/>
                    <a:gd name="connsiteY3" fmla="*/ 38100 h 38100"/>
                  </a:gdLst>
                  <a:ahLst/>
                  <a:cxnLst>
                    <a:cxn ang="0">
                      <a:pos x="connsiteX0" y="connsiteY0"/>
                    </a:cxn>
                    <a:cxn ang="0">
                      <a:pos x="connsiteX1" y="connsiteY1"/>
                    </a:cxn>
                    <a:cxn ang="0">
                      <a:pos x="connsiteX2" y="connsiteY2"/>
                    </a:cxn>
                    <a:cxn ang="0">
                      <a:pos x="connsiteX3" y="connsiteY3"/>
                    </a:cxn>
                  </a:cxnLst>
                  <a:rect l="l" t="t" r="r" b="b"/>
                  <a:pathLst>
                    <a:path w="19050" h="38100">
                      <a:moveTo>
                        <a:pt x="0" y="0"/>
                      </a:moveTo>
                      <a:lnTo>
                        <a:pt x="19050" y="0"/>
                      </a:lnTo>
                      <a:lnTo>
                        <a:pt x="19050" y="38100"/>
                      </a:lnTo>
                      <a:lnTo>
                        <a:pt x="0" y="38100"/>
                      </a:lnTo>
                      <a:close/>
                    </a:path>
                  </a:pathLst>
                </a:custGeom>
                <a:grpFill/>
                <a:ln w="9525" cap="flat">
                  <a:noFill/>
                  <a:prstDash val="solid"/>
                  <a:miter/>
                </a:ln>
              </p:spPr>
              <p:txBody>
                <a:bodyPr rtlCol="0" anchor="ctr"/>
                <a:lstStyle/>
                <a:p>
                  <a:endParaRPr lang="zh-CN" altLang="en-US"/>
                </a:p>
              </p:txBody>
            </p:sp>
            <p:sp>
              <p:nvSpPr>
                <p:cNvPr id="186" name="任意多边形: 形状 185"/>
                <p:cNvSpPr/>
                <p:nvPr/>
              </p:nvSpPr>
              <p:spPr>
                <a:xfrm>
                  <a:off x="7211567" y="4538662"/>
                  <a:ext cx="19050" cy="38100"/>
                </a:xfrm>
                <a:custGeom>
                  <a:avLst/>
                  <a:gdLst>
                    <a:gd name="connsiteX0" fmla="*/ 0 w 19050"/>
                    <a:gd name="connsiteY0" fmla="*/ 0 h 38100"/>
                    <a:gd name="connsiteX1" fmla="*/ 19050 w 19050"/>
                    <a:gd name="connsiteY1" fmla="*/ 0 h 38100"/>
                    <a:gd name="connsiteX2" fmla="*/ 19050 w 19050"/>
                    <a:gd name="connsiteY2" fmla="*/ 38100 h 38100"/>
                    <a:gd name="connsiteX3" fmla="*/ 0 w 19050"/>
                    <a:gd name="connsiteY3" fmla="*/ 38100 h 38100"/>
                  </a:gdLst>
                  <a:ahLst/>
                  <a:cxnLst>
                    <a:cxn ang="0">
                      <a:pos x="connsiteX0" y="connsiteY0"/>
                    </a:cxn>
                    <a:cxn ang="0">
                      <a:pos x="connsiteX1" y="connsiteY1"/>
                    </a:cxn>
                    <a:cxn ang="0">
                      <a:pos x="connsiteX2" y="connsiteY2"/>
                    </a:cxn>
                    <a:cxn ang="0">
                      <a:pos x="connsiteX3" y="connsiteY3"/>
                    </a:cxn>
                  </a:cxnLst>
                  <a:rect l="l" t="t" r="r" b="b"/>
                  <a:pathLst>
                    <a:path w="19050" h="38100">
                      <a:moveTo>
                        <a:pt x="0" y="0"/>
                      </a:moveTo>
                      <a:lnTo>
                        <a:pt x="19050" y="0"/>
                      </a:lnTo>
                      <a:lnTo>
                        <a:pt x="19050" y="38100"/>
                      </a:lnTo>
                      <a:lnTo>
                        <a:pt x="0" y="38100"/>
                      </a:lnTo>
                      <a:close/>
                    </a:path>
                  </a:pathLst>
                </a:custGeom>
                <a:grpFill/>
                <a:ln w="9525" cap="flat">
                  <a:noFill/>
                  <a:prstDash val="solid"/>
                  <a:miter/>
                </a:ln>
              </p:spPr>
              <p:txBody>
                <a:bodyPr rtlCol="0" anchor="ctr"/>
                <a:lstStyle/>
                <a:p>
                  <a:endParaRPr lang="zh-CN" altLang="en-US"/>
                </a:p>
              </p:txBody>
            </p:sp>
            <p:sp>
              <p:nvSpPr>
                <p:cNvPr id="187" name="任意多边形: 形状 186"/>
                <p:cNvSpPr/>
                <p:nvPr/>
              </p:nvSpPr>
              <p:spPr>
                <a:xfrm>
                  <a:off x="7256239" y="4538662"/>
                  <a:ext cx="19050" cy="38100"/>
                </a:xfrm>
                <a:custGeom>
                  <a:avLst/>
                  <a:gdLst>
                    <a:gd name="connsiteX0" fmla="*/ 0 w 19050"/>
                    <a:gd name="connsiteY0" fmla="*/ 0 h 38100"/>
                    <a:gd name="connsiteX1" fmla="*/ 19050 w 19050"/>
                    <a:gd name="connsiteY1" fmla="*/ 0 h 38100"/>
                    <a:gd name="connsiteX2" fmla="*/ 19050 w 19050"/>
                    <a:gd name="connsiteY2" fmla="*/ 38100 h 38100"/>
                    <a:gd name="connsiteX3" fmla="*/ 0 w 19050"/>
                    <a:gd name="connsiteY3" fmla="*/ 38100 h 38100"/>
                  </a:gdLst>
                  <a:ahLst/>
                  <a:cxnLst>
                    <a:cxn ang="0">
                      <a:pos x="connsiteX0" y="connsiteY0"/>
                    </a:cxn>
                    <a:cxn ang="0">
                      <a:pos x="connsiteX1" y="connsiteY1"/>
                    </a:cxn>
                    <a:cxn ang="0">
                      <a:pos x="connsiteX2" y="connsiteY2"/>
                    </a:cxn>
                    <a:cxn ang="0">
                      <a:pos x="connsiteX3" y="connsiteY3"/>
                    </a:cxn>
                  </a:cxnLst>
                  <a:rect l="l" t="t" r="r" b="b"/>
                  <a:pathLst>
                    <a:path w="19050" h="38100">
                      <a:moveTo>
                        <a:pt x="0" y="0"/>
                      </a:moveTo>
                      <a:lnTo>
                        <a:pt x="19050" y="0"/>
                      </a:lnTo>
                      <a:lnTo>
                        <a:pt x="19050" y="38100"/>
                      </a:lnTo>
                      <a:lnTo>
                        <a:pt x="0" y="38100"/>
                      </a:lnTo>
                      <a:close/>
                    </a:path>
                  </a:pathLst>
                </a:custGeom>
                <a:grpFill/>
                <a:ln w="9525" cap="flat">
                  <a:noFill/>
                  <a:prstDash val="solid"/>
                  <a:miter/>
                </a:ln>
              </p:spPr>
              <p:txBody>
                <a:bodyPr rtlCol="0" anchor="ctr"/>
                <a:lstStyle/>
                <a:p>
                  <a:endParaRPr lang="zh-CN" altLang="en-US"/>
                </a:p>
              </p:txBody>
            </p:sp>
            <p:sp>
              <p:nvSpPr>
                <p:cNvPr id="188" name="任意多边形: 形状 187"/>
                <p:cNvSpPr/>
                <p:nvPr/>
              </p:nvSpPr>
              <p:spPr>
                <a:xfrm>
                  <a:off x="7300912" y="4538662"/>
                  <a:ext cx="19050" cy="38100"/>
                </a:xfrm>
                <a:custGeom>
                  <a:avLst/>
                  <a:gdLst>
                    <a:gd name="connsiteX0" fmla="*/ 0 w 19050"/>
                    <a:gd name="connsiteY0" fmla="*/ 0 h 38100"/>
                    <a:gd name="connsiteX1" fmla="*/ 19050 w 19050"/>
                    <a:gd name="connsiteY1" fmla="*/ 0 h 38100"/>
                    <a:gd name="connsiteX2" fmla="*/ 19050 w 19050"/>
                    <a:gd name="connsiteY2" fmla="*/ 38100 h 38100"/>
                    <a:gd name="connsiteX3" fmla="*/ 0 w 19050"/>
                    <a:gd name="connsiteY3" fmla="*/ 38100 h 38100"/>
                  </a:gdLst>
                  <a:ahLst/>
                  <a:cxnLst>
                    <a:cxn ang="0">
                      <a:pos x="connsiteX0" y="connsiteY0"/>
                    </a:cxn>
                    <a:cxn ang="0">
                      <a:pos x="connsiteX1" y="connsiteY1"/>
                    </a:cxn>
                    <a:cxn ang="0">
                      <a:pos x="connsiteX2" y="connsiteY2"/>
                    </a:cxn>
                    <a:cxn ang="0">
                      <a:pos x="connsiteX3" y="connsiteY3"/>
                    </a:cxn>
                  </a:cxnLst>
                  <a:rect l="l" t="t" r="r" b="b"/>
                  <a:pathLst>
                    <a:path w="19050" h="38100">
                      <a:moveTo>
                        <a:pt x="0" y="0"/>
                      </a:moveTo>
                      <a:lnTo>
                        <a:pt x="19050" y="0"/>
                      </a:lnTo>
                      <a:lnTo>
                        <a:pt x="19050" y="38100"/>
                      </a:lnTo>
                      <a:lnTo>
                        <a:pt x="0" y="38100"/>
                      </a:lnTo>
                      <a:close/>
                    </a:path>
                  </a:pathLst>
                </a:custGeom>
                <a:grpFill/>
                <a:ln w="9525" cap="flat">
                  <a:noFill/>
                  <a:prstDash val="solid"/>
                  <a:miter/>
                </a:ln>
              </p:spPr>
              <p:txBody>
                <a:bodyPr rtlCol="0" anchor="ctr"/>
                <a:lstStyle/>
                <a:p>
                  <a:endParaRPr lang="zh-CN" altLang="en-US"/>
                </a:p>
              </p:txBody>
            </p:sp>
          </p:grpSp>
          <p:sp>
            <p:nvSpPr>
              <p:cNvPr id="118" name="任意多边形: 形状 117"/>
              <p:cNvSpPr/>
              <p:nvPr/>
            </p:nvSpPr>
            <p:spPr>
              <a:xfrm>
                <a:off x="4650176" y="5471127"/>
                <a:ext cx="2270843" cy="98022"/>
              </a:xfrm>
              <a:custGeom>
                <a:avLst/>
                <a:gdLst>
                  <a:gd name="connsiteX0" fmla="*/ 57150 w 1323975"/>
                  <a:gd name="connsiteY0" fmla="*/ 0 h 57150"/>
                  <a:gd name="connsiteX1" fmla="*/ 0 w 1323975"/>
                  <a:gd name="connsiteY1" fmla="*/ 57150 h 57150"/>
                  <a:gd name="connsiteX2" fmla="*/ 1323975 w 1323975"/>
                  <a:gd name="connsiteY2" fmla="*/ 57150 h 57150"/>
                  <a:gd name="connsiteX3" fmla="*/ 1323975 w 1323975"/>
                  <a:gd name="connsiteY3" fmla="*/ 0 h 57150"/>
                  <a:gd name="connsiteX4" fmla="*/ 57150 w 1323975"/>
                  <a:gd name="connsiteY4" fmla="*/ 0 h 57150"/>
                  <a:gd name="connsiteX5" fmla="*/ 1314450 w 1323975"/>
                  <a:gd name="connsiteY5" fmla="*/ 47625 h 57150"/>
                  <a:gd name="connsiteX6" fmla="*/ 28575 w 1323975"/>
                  <a:gd name="connsiteY6" fmla="*/ 47625 h 57150"/>
                  <a:gd name="connsiteX7" fmla="*/ 66675 w 1323975"/>
                  <a:gd name="connsiteY7" fmla="*/ 9525 h 57150"/>
                  <a:gd name="connsiteX8" fmla="*/ 1314450 w 1323975"/>
                  <a:gd name="connsiteY8" fmla="*/ 9525 h 57150"/>
                  <a:gd name="connsiteX9" fmla="*/ 1314450 w 1323975"/>
                  <a:gd name="connsiteY9" fmla="*/ 47625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23975" h="57150">
                    <a:moveTo>
                      <a:pt x="57150" y="0"/>
                    </a:moveTo>
                    <a:lnTo>
                      <a:pt x="0" y="57150"/>
                    </a:lnTo>
                    <a:lnTo>
                      <a:pt x="1323975" y="57150"/>
                    </a:lnTo>
                    <a:lnTo>
                      <a:pt x="1323975" y="0"/>
                    </a:lnTo>
                    <a:lnTo>
                      <a:pt x="57150" y="0"/>
                    </a:lnTo>
                    <a:close/>
                    <a:moveTo>
                      <a:pt x="1314450" y="47625"/>
                    </a:moveTo>
                    <a:lnTo>
                      <a:pt x="28575" y="47625"/>
                    </a:lnTo>
                    <a:lnTo>
                      <a:pt x="66675" y="9525"/>
                    </a:lnTo>
                    <a:lnTo>
                      <a:pt x="1314450" y="9525"/>
                    </a:lnTo>
                    <a:lnTo>
                      <a:pt x="1314450" y="47625"/>
                    </a:lnTo>
                    <a:close/>
                  </a:path>
                </a:pathLst>
              </a:custGeom>
              <a:solidFill>
                <a:schemeClr val="accent2"/>
              </a:solidFill>
              <a:ln w="9525" cap="flat">
                <a:noFill/>
                <a:prstDash val="solid"/>
                <a:miter/>
              </a:ln>
            </p:spPr>
            <p:txBody>
              <a:bodyPr rtlCol="0" anchor="ctr"/>
              <a:lstStyle/>
              <a:p>
                <a:endParaRPr lang="zh-CN" altLang="en-US"/>
              </a:p>
            </p:txBody>
          </p:sp>
          <p:sp>
            <p:nvSpPr>
              <p:cNvPr id="119" name="任意多边形: 形状 118"/>
              <p:cNvSpPr/>
              <p:nvPr/>
            </p:nvSpPr>
            <p:spPr>
              <a:xfrm>
                <a:off x="7035378" y="5471127"/>
                <a:ext cx="1257949" cy="98022"/>
              </a:xfrm>
              <a:custGeom>
                <a:avLst/>
                <a:gdLst>
                  <a:gd name="connsiteX0" fmla="*/ 0 w 733425"/>
                  <a:gd name="connsiteY0" fmla="*/ 0 h 57150"/>
                  <a:gd name="connsiteX1" fmla="*/ 0 w 733425"/>
                  <a:gd name="connsiteY1" fmla="*/ 57150 h 57150"/>
                  <a:gd name="connsiteX2" fmla="*/ 733425 w 733425"/>
                  <a:gd name="connsiteY2" fmla="*/ 57150 h 57150"/>
                  <a:gd name="connsiteX3" fmla="*/ 733425 w 733425"/>
                  <a:gd name="connsiteY3" fmla="*/ 0 h 57150"/>
                  <a:gd name="connsiteX4" fmla="*/ 0 w 733425"/>
                  <a:gd name="connsiteY4" fmla="*/ 0 h 57150"/>
                  <a:gd name="connsiteX5" fmla="*/ 723900 w 733425"/>
                  <a:gd name="connsiteY5" fmla="*/ 47625 h 57150"/>
                  <a:gd name="connsiteX6" fmla="*/ 9525 w 733425"/>
                  <a:gd name="connsiteY6" fmla="*/ 47625 h 57150"/>
                  <a:gd name="connsiteX7" fmla="*/ 9525 w 733425"/>
                  <a:gd name="connsiteY7" fmla="*/ 9525 h 57150"/>
                  <a:gd name="connsiteX8" fmla="*/ 723900 w 733425"/>
                  <a:gd name="connsiteY8" fmla="*/ 9525 h 57150"/>
                  <a:gd name="connsiteX9" fmla="*/ 723900 w 733425"/>
                  <a:gd name="connsiteY9" fmla="*/ 47625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33425" h="57150">
                    <a:moveTo>
                      <a:pt x="0" y="0"/>
                    </a:moveTo>
                    <a:lnTo>
                      <a:pt x="0" y="57150"/>
                    </a:lnTo>
                    <a:lnTo>
                      <a:pt x="733425" y="57150"/>
                    </a:lnTo>
                    <a:lnTo>
                      <a:pt x="733425" y="0"/>
                    </a:lnTo>
                    <a:lnTo>
                      <a:pt x="0" y="0"/>
                    </a:lnTo>
                    <a:close/>
                    <a:moveTo>
                      <a:pt x="723900" y="47625"/>
                    </a:moveTo>
                    <a:lnTo>
                      <a:pt x="9525" y="47625"/>
                    </a:lnTo>
                    <a:lnTo>
                      <a:pt x="9525" y="9525"/>
                    </a:lnTo>
                    <a:lnTo>
                      <a:pt x="723900" y="9525"/>
                    </a:lnTo>
                    <a:lnTo>
                      <a:pt x="723900" y="47625"/>
                    </a:lnTo>
                    <a:close/>
                  </a:path>
                </a:pathLst>
              </a:custGeom>
              <a:solidFill>
                <a:schemeClr val="accent2"/>
              </a:solidFill>
              <a:ln w="9525" cap="flat">
                <a:noFill/>
                <a:prstDash val="solid"/>
                <a:miter/>
              </a:ln>
            </p:spPr>
            <p:txBody>
              <a:bodyPr rtlCol="0" anchor="ctr"/>
              <a:lstStyle/>
              <a:p>
                <a:endParaRPr lang="zh-CN" altLang="en-US"/>
              </a:p>
            </p:txBody>
          </p:sp>
          <p:grpSp>
            <p:nvGrpSpPr>
              <p:cNvPr id="120" name="组合 119"/>
              <p:cNvGrpSpPr/>
              <p:nvPr/>
            </p:nvGrpSpPr>
            <p:grpSpPr>
              <a:xfrm>
                <a:off x="1333764" y="4997354"/>
                <a:ext cx="2924324" cy="441099"/>
                <a:chOff x="1333764" y="4997354"/>
                <a:chExt cx="2924324" cy="441099"/>
              </a:xfrm>
            </p:grpSpPr>
            <p:sp>
              <p:nvSpPr>
                <p:cNvPr id="163" name="任意多边形: 形状 162"/>
                <p:cNvSpPr/>
                <p:nvPr/>
              </p:nvSpPr>
              <p:spPr>
                <a:xfrm>
                  <a:off x="1333764" y="4997354"/>
                  <a:ext cx="2924324" cy="294066"/>
                </a:xfrm>
                <a:custGeom>
                  <a:avLst/>
                  <a:gdLst>
                    <a:gd name="connsiteX0" fmla="*/ 1681163 w 1704975"/>
                    <a:gd name="connsiteY0" fmla="*/ 123825 h 171450"/>
                    <a:gd name="connsiteX1" fmla="*/ 1657826 w 1704975"/>
                    <a:gd name="connsiteY1" fmla="*/ 142875 h 171450"/>
                    <a:gd name="connsiteX2" fmla="*/ 152400 w 1704975"/>
                    <a:gd name="connsiteY2" fmla="*/ 142875 h 171450"/>
                    <a:gd name="connsiteX3" fmla="*/ 41339 w 1704975"/>
                    <a:gd name="connsiteY3" fmla="*/ 39814 h 171450"/>
                    <a:gd name="connsiteX4" fmla="*/ 47625 w 1704975"/>
                    <a:gd name="connsiteY4" fmla="*/ 23813 h 171450"/>
                    <a:gd name="connsiteX5" fmla="*/ 23813 w 1704975"/>
                    <a:gd name="connsiteY5" fmla="*/ 0 h 171450"/>
                    <a:gd name="connsiteX6" fmla="*/ 0 w 1704975"/>
                    <a:gd name="connsiteY6" fmla="*/ 23813 h 171450"/>
                    <a:gd name="connsiteX7" fmla="*/ 23813 w 1704975"/>
                    <a:gd name="connsiteY7" fmla="*/ 47625 h 171450"/>
                    <a:gd name="connsiteX8" fmla="*/ 35909 w 1704975"/>
                    <a:gd name="connsiteY8" fmla="*/ 44196 h 171450"/>
                    <a:gd name="connsiteX9" fmla="*/ 152400 w 1704975"/>
                    <a:gd name="connsiteY9" fmla="*/ 152400 h 171450"/>
                    <a:gd name="connsiteX10" fmla="*/ 1657826 w 1704975"/>
                    <a:gd name="connsiteY10" fmla="*/ 152400 h 171450"/>
                    <a:gd name="connsiteX11" fmla="*/ 1681163 w 1704975"/>
                    <a:gd name="connsiteY11" fmla="*/ 171450 h 171450"/>
                    <a:gd name="connsiteX12" fmla="*/ 1704975 w 1704975"/>
                    <a:gd name="connsiteY12" fmla="*/ 147638 h 171450"/>
                    <a:gd name="connsiteX13" fmla="*/ 1681163 w 1704975"/>
                    <a:gd name="connsiteY13" fmla="*/ 123825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04975" h="171450">
                      <a:moveTo>
                        <a:pt x="1681163" y="123825"/>
                      </a:moveTo>
                      <a:cubicBezTo>
                        <a:pt x="1669637" y="123825"/>
                        <a:pt x="1660017" y="132017"/>
                        <a:pt x="1657826" y="142875"/>
                      </a:cubicBezTo>
                      <a:lnTo>
                        <a:pt x="152400" y="142875"/>
                      </a:lnTo>
                      <a:lnTo>
                        <a:pt x="41339" y="39814"/>
                      </a:lnTo>
                      <a:cubicBezTo>
                        <a:pt x="45148" y="35624"/>
                        <a:pt x="47625" y="30004"/>
                        <a:pt x="47625" y="23813"/>
                      </a:cubicBezTo>
                      <a:cubicBezTo>
                        <a:pt x="47625" y="10668"/>
                        <a:pt x="36957" y="0"/>
                        <a:pt x="23813" y="0"/>
                      </a:cubicBezTo>
                      <a:cubicBezTo>
                        <a:pt x="10668" y="0"/>
                        <a:pt x="0" y="10668"/>
                        <a:pt x="0" y="23813"/>
                      </a:cubicBezTo>
                      <a:cubicBezTo>
                        <a:pt x="0" y="36957"/>
                        <a:pt x="10668" y="47625"/>
                        <a:pt x="23813" y="47625"/>
                      </a:cubicBezTo>
                      <a:cubicBezTo>
                        <a:pt x="28289" y="47625"/>
                        <a:pt x="32385" y="46292"/>
                        <a:pt x="35909" y="44196"/>
                      </a:cubicBezTo>
                      <a:lnTo>
                        <a:pt x="152400" y="152400"/>
                      </a:lnTo>
                      <a:lnTo>
                        <a:pt x="1657826" y="152400"/>
                      </a:lnTo>
                      <a:cubicBezTo>
                        <a:pt x="1660017" y="163259"/>
                        <a:pt x="1669637" y="171450"/>
                        <a:pt x="1681163" y="171450"/>
                      </a:cubicBezTo>
                      <a:cubicBezTo>
                        <a:pt x="1694307" y="171450"/>
                        <a:pt x="1704975" y="160782"/>
                        <a:pt x="1704975" y="147638"/>
                      </a:cubicBezTo>
                      <a:cubicBezTo>
                        <a:pt x="1704975" y="134493"/>
                        <a:pt x="1694307" y="123825"/>
                        <a:pt x="1681163" y="123825"/>
                      </a:cubicBezTo>
                      <a:close/>
                    </a:path>
                  </a:pathLst>
                </a:custGeom>
                <a:gradFill flip="none" rotWithShape="1">
                  <a:gsLst>
                    <a:gs pos="0">
                      <a:schemeClr val="accent3"/>
                    </a:gs>
                    <a:gs pos="90000">
                      <a:schemeClr val="accent3">
                        <a:lumMod val="60000"/>
                        <a:lumOff val="40000"/>
                      </a:schemeClr>
                    </a:gs>
                  </a:gsLst>
                  <a:lin ang="10800000" scaled="1"/>
                  <a:tileRect/>
                </a:gradFill>
                <a:ln w="9525" cap="flat">
                  <a:noFill/>
                  <a:prstDash val="solid"/>
                  <a:miter/>
                </a:ln>
              </p:spPr>
              <p:txBody>
                <a:bodyPr rtlCol="0" anchor="ctr"/>
                <a:lstStyle/>
                <a:p>
                  <a:endParaRPr lang="zh-CN" altLang="en-US"/>
                </a:p>
              </p:txBody>
            </p:sp>
            <p:grpSp>
              <p:nvGrpSpPr>
                <p:cNvPr id="164" name="组合 163"/>
                <p:cNvGrpSpPr/>
                <p:nvPr/>
              </p:nvGrpSpPr>
              <p:grpSpPr>
                <a:xfrm>
                  <a:off x="2755083" y="5324094"/>
                  <a:ext cx="1355971" cy="114359"/>
                  <a:chOff x="2755083" y="5324094"/>
                  <a:chExt cx="1355971" cy="114359"/>
                </a:xfrm>
                <a:gradFill flip="none" rotWithShape="1">
                  <a:gsLst>
                    <a:gs pos="0">
                      <a:schemeClr val="accent3"/>
                    </a:gs>
                    <a:gs pos="100000">
                      <a:schemeClr val="accent3">
                        <a:alpha val="0"/>
                      </a:schemeClr>
                    </a:gs>
                  </a:gsLst>
                  <a:lin ang="0" scaled="1"/>
                  <a:tileRect/>
                </a:gradFill>
              </p:grpSpPr>
              <p:sp>
                <p:nvSpPr>
                  <p:cNvPr id="167" name="任意多边形: 形状 166"/>
                  <p:cNvSpPr/>
                  <p:nvPr/>
                </p:nvSpPr>
                <p:spPr>
                  <a:xfrm>
                    <a:off x="3898673" y="5324094"/>
                    <a:ext cx="212381" cy="114359"/>
                  </a:xfrm>
                  <a:custGeom>
                    <a:avLst/>
                    <a:gdLst>
                      <a:gd name="connsiteX0" fmla="*/ 57150 w 123825"/>
                      <a:gd name="connsiteY0" fmla="*/ 0 h 66675"/>
                      <a:gd name="connsiteX1" fmla="*/ 0 w 123825"/>
                      <a:gd name="connsiteY1" fmla="*/ 0 h 66675"/>
                      <a:gd name="connsiteX2" fmla="*/ 66675 w 123825"/>
                      <a:gd name="connsiteY2" fmla="*/ 66675 h 66675"/>
                      <a:gd name="connsiteX3" fmla="*/ 123825 w 123825"/>
                      <a:gd name="connsiteY3" fmla="*/ 66675 h 66675"/>
                    </a:gdLst>
                    <a:ahLst/>
                    <a:cxnLst>
                      <a:cxn ang="0">
                        <a:pos x="connsiteX0" y="connsiteY0"/>
                      </a:cxn>
                      <a:cxn ang="0">
                        <a:pos x="connsiteX1" y="connsiteY1"/>
                      </a:cxn>
                      <a:cxn ang="0">
                        <a:pos x="connsiteX2" y="connsiteY2"/>
                      </a:cxn>
                      <a:cxn ang="0">
                        <a:pos x="connsiteX3" y="connsiteY3"/>
                      </a:cxn>
                    </a:cxnLst>
                    <a:rect l="l" t="t" r="r" b="b"/>
                    <a:pathLst>
                      <a:path w="123825" h="66675">
                        <a:moveTo>
                          <a:pt x="57150" y="0"/>
                        </a:moveTo>
                        <a:lnTo>
                          <a:pt x="0" y="0"/>
                        </a:lnTo>
                        <a:lnTo>
                          <a:pt x="66675" y="66675"/>
                        </a:lnTo>
                        <a:lnTo>
                          <a:pt x="123825" y="66675"/>
                        </a:lnTo>
                        <a:close/>
                      </a:path>
                    </a:pathLst>
                  </a:custGeom>
                  <a:grpFill/>
                  <a:ln w="9525" cap="flat">
                    <a:noFill/>
                    <a:prstDash val="solid"/>
                    <a:miter/>
                  </a:ln>
                </p:spPr>
                <p:txBody>
                  <a:bodyPr rtlCol="0" anchor="ctr"/>
                  <a:lstStyle/>
                  <a:p>
                    <a:endParaRPr lang="zh-CN" altLang="en-US"/>
                  </a:p>
                </p:txBody>
              </p:sp>
              <p:sp>
                <p:nvSpPr>
                  <p:cNvPr id="168" name="任意多边形: 形状 167"/>
                  <p:cNvSpPr/>
                  <p:nvPr/>
                </p:nvSpPr>
                <p:spPr>
                  <a:xfrm>
                    <a:off x="3735303" y="5324094"/>
                    <a:ext cx="212381" cy="114359"/>
                  </a:xfrm>
                  <a:custGeom>
                    <a:avLst/>
                    <a:gdLst>
                      <a:gd name="connsiteX0" fmla="*/ 0 w 123825"/>
                      <a:gd name="connsiteY0" fmla="*/ 0 h 66675"/>
                      <a:gd name="connsiteX1" fmla="*/ 66675 w 123825"/>
                      <a:gd name="connsiteY1" fmla="*/ 66675 h 66675"/>
                      <a:gd name="connsiteX2" fmla="*/ 123825 w 123825"/>
                      <a:gd name="connsiteY2" fmla="*/ 66675 h 66675"/>
                      <a:gd name="connsiteX3" fmla="*/ 57150 w 123825"/>
                      <a:gd name="connsiteY3" fmla="*/ 0 h 66675"/>
                    </a:gdLst>
                    <a:ahLst/>
                    <a:cxnLst>
                      <a:cxn ang="0">
                        <a:pos x="connsiteX0" y="connsiteY0"/>
                      </a:cxn>
                      <a:cxn ang="0">
                        <a:pos x="connsiteX1" y="connsiteY1"/>
                      </a:cxn>
                      <a:cxn ang="0">
                        <a:pos x="connsiteX2" y="connsiteY2"/>
                      </a:cxn>
                      <a:cxn ang="0">
                        <a:pos x="connsiteX3" y="connsiteY3"/>
                      </a:cxn>
                    </a:cxnLst>
                    <a:rect l="l" t="t" r="r" b="b"/>
                    <a:pathLst>
                      <a:path w="123825" h="66675">
                        <a:moveTo>
                          <a:pt x="0" y="0"/>
                        </a:moveTo>
                        <a:lnTo>
                          <a:pt x="66675" y="66675"/>
                        </a:lnTo>
                        <a:lnTo>
                          <a:pt x="123825" y="66675"/>
                        </a:lnTo>
                        <a:lnTo>
                          <a:pt x="57150" y="0"/>
                        </a:lnTo>
                        <a:close/>
                      </a:path>
                    </a:pathLst>
                  </a:custGeom>
                  <a:grpFill/>
                  <a:ln w="9525" cap="flat">
                    <a:noFill/>
                    <a:prstDash val="solid"/>
                    <a:miter/>
                  </a:ln>
                </p:spPr>
                <p:txBody>
                  <a:bodyPr rtlCol="0" anchor="ctr"/>
                  <a:lstStyle/>
                  <a:p>
                    <a:endParaRPr lang="zh-CN" altLang="en-US"/>
                  </a:p>
                </p:txBody>
              </p:sp>
              <p:sp>
                <p:nvSpPr>
                  <p:cNvPr id="169" name="任意多边形: 形状 168"/>
                  <p:cNvSpPr/>
                  <p:nvPr/>
                </p:nvSpPr>
                <p:spPr>
                  <a:xfrm>
                    <a:off x="3571933" y="5324094"/>
                    <a:ext cx="212381" cy="114359"/>
                  </a:xfrm>
                  <a:custGeom>
                    <a:avLst/>
                    <a:gdLst>
                      <a:gd name="connsiteX0" fmla="*/ 0 w 123825"/>
                      <a:gd name="connsiteY0" fmla="*/ 0 h 66675"/>
                      <a:gd name="connsiteX1" fmla="*/ 66675 w 123825"/>
                      <a:gd name="connsiteY1" fmla="*/ 66675 h 66675"/>
                      <a:gd name="connsiteX2" fmla="*/ 123825 w 123825"/>
                      <a:gd name="connsiteY2" fmla="*/ 66675 h 66675"/>
                      <a:gd name="connsiteX3" fmla="*/ 57150 w 123825"/>
                      <a:gd name="connsiteY3" fmla="*/ 0 h 66675"/>
                    </a:gdLst>
                    <a:ahLst/>
                    <a:cxnLst>
                      <a:cxn ang="0">
                        <a:pos x="connsiteX0" y="connsiteY0"/>
                      </a:cxn>
                      <a:cxn ang="0">
                        <a:pos x="connsiteX1" y="connsiteY1"/>
                      </a:cxn>
                      <a:cxn ang="0">
                        <a:pos x="connsiteX2" y="connsiteY2"/>
                      </a:cxn>
                      <a:cxn ang="0">
                        <a:pos x="connsiteX3" y="connsiteY3"/>
                      </a:cxn>
                    </a:cxnLst>
                    <a:rect l="l" t="t" r="r" b="b"/>
                    <a:pathLst>
                      <a:path w="123825" h="66675">
                        <a:moveTo>
                          <a:pt x="0" y="0"/>
                        </a:moveTo>
                        <a:lnTo>
                          <a:pt x="66675" y="66675"/>
                        </a:lnTo>
                        <a:lnTo>
                          <a:pt x="123825" y="66675"/>
                        </a:lnTo>
                        <a:lnTo>
                          <a:pt x="57150" y="0"/>
                        </a:lnTo>
                        <a:close/>
                      </a:path>
                    </a:pathLst>
                  </a:custGeom>
                  <a:grpFill/>
                  <a:ln w="9525" cap="flat">
                    <a:noFill/>
                    <a:prstDash val="solid"/>
                    <a:miter/>
                  </a:ln>
                </p:spPr>
                <p:txBody>
                  <a:bodyPr rtlCol="0" anchor="ctr"/>
                  <a:lstStyle/>
                  <a:p>
                    <a:endParaRPr lang="zh-CN" altLang="en-US"/>
                  </a:p>
                </p:txBody>
              </p:sp>
              <p:sp>
                <p:nvSpPr>
                  <p:cNvPr id="170" name="任意多边形: 形状 169"/>
                  <p:cNvSpPr/>
                  <p:nvPr/>
                </p:nvSpPr>
                <p:spPr>
                  <a:xfrm>
                    <a:off x="3408563" y="5324094"/>
                    <a:ext cx="212381" cy="114359"/>
                  </a:xfrm>
                  <a:custGeom>
                    <a:avLst/>
                    <a:gdLst>
                      <a:gd name="connsiteX0" fmla="*/ 0 w 123825"/>
                      <a:gd name="connsiteY0" fmla="*/ 0 h 66675"/>
                      <a:gd name="connsiteX1" fmla="*/ 66675 w 123825"/>
                      <a:gd name="connsiteY1" fmla="*/ 66675 h 66675"/>
                      <a:gd name="connsiteX2" fmla="*/ 123825 w 123825"/>
                      <a:gd name="connsiteY2" fmla="*/ 66675 h 66675"/>
                      <a:gd name="connsiteX3" fmla="*/ 57150 w 123825"/>
                      <a:gd name="connsiteY3" fmla="*/ 0 h 66675"/>
                    </a:gdLst>
                    <a:ahLst/>
                    <a:cxnLst>
                      <a:cxn ang="0">
                        <a:pos x="connsiteX0" y="connsiteY0"/>
                      </a:cxn>
                      <a:cxn ang="0">
                        <a:pos x="connsiteX1" y="connsiteY1"/>
                      </a:cxn>
                      <a:cxn ang="0">
                        <a:pos x="connsiteX2" y="connsiteY2"/>
                      </a:cxn>
                      <a:cxn ang="0">
                        <a:pos x="connsiteX3" y="connsiteY3"/>
                      </a:cxn>
                    </a:cxnLst>
                    <a:rect l="l" t="t" r="r" b="b"/>
                    <a:pathLst>
                      <a:path w="123825" h="66675">
                        <a:moveTo>
                          <a:pt x="0" y="0"/>
                        </a:moveTo>
                        <a:lnTo>
                          <a:pt x="66675" y="66675"/>
                        </a:lnTo>
                        <a:lnTo>
                          <a:pt x="123825" y="66675"/>
                        </a:lnTo>
                        <a:lnTo>
                          <a:pt x="57150" y="0"/>
                        </a:lnTo>
                        <a:close/>
                      </a:path>
                    </a:pathLst>
                  </a:custGeom>
                  <a:grpFill/>
                  <a:ln w="9525" cap="flat">
                    <a:noFill/>
                    <a:prstDash val="solid"/>
                    <a:miter/>
                  </a:ln>
                </p:spPr>
                <p:txBody>
                  <a:bodyPr rtlCol="0" anchor="ctr"/>
                  <a:lstStyle/>
                  <a:p>
                    <a:endParaRPr lang="zh-CN" altLang="en-US"/>
                  </a:p>
                </p:txBody>
              </p:sp>
              <p:sp>
                <p:nvSpPr>
                  <p:cNvPr id="171" name="任意多边形: 形状 170"/>
                  <p:cNvSpPr/>
                  <p:nvPr/>
                </p:nvSpPr>
                <p:spPr>
                  <a:xfrm>
                    <a:off x="3245193" y="5324094"/>
                    <a:ext cx="212381" cy="114359"/>
                  </a:xfrm>
                  <a:custGeom>
                    <a:avLst/>
                    <a:gdLst>
                      <a:gd name="connsiteX0" fmla="*/ 0 w 123825"/>
                      <a:gd name="connsiteY0" fmla="*/ 0 h 66675"/>
                      <a:gd name="connsiteX1" fmla="*/ 66675 w 123825"/>
                      <a:gd name="connsiteY1" fmla="*/ 66675 h 66675"/>
                      <a:gd name="connsiteX2" fmla="*/ 123825 w 123825"/>
                      <a:gd name="connsiteY2" fmla="*/ 66675 h 66675"/>
                      <a:gd name="connsiteX3" fmla="*/ 57150 w 123825"/>
                      <a:gd name="connsiteY3" fmla="*/ 0 h 66675"/>
                    </a:gdLst>
                    <a:ahLst/>
                    <a:cxnLst>
                      <a:cxn ang="0">
                        <a:pos x="connsiteX0" y="connsiteY0"/>
                      </a:cxn>
                      <a:cxn ang="0">
                        <a:pos x="connsiteX1" y="connsiteY1"/>
                      </a:cxn>
                      <a:cxn ang="0">
                        <a:pos x="connsiteX2" y="connsiteY2"/>
                      </a:cxn>
                      <a:cxn ang="0">
                        <a:pos x="connsiteX3" y="connsiteY3"/>
                      </a:cxn>
                    </a:cxnLst>
                    <a:rect l="l" t="t" r="r" b="b"/>
                    <a:pathLst>
                      <a:path w="123825" h="66675">
                        <a:moveTo>
                          <a:pt x="0" y="0"/>
                        </a:moveTo>
                        <a:lnTo>
                          <a:pt x="66675" y="66675"/>
                        </a:lnTo>
                        <a:lnTo>
                          <a:pt x="123825" y="66675"/>
                        </a:lnTo>
                        <a:lnTo>
                          <a:pt x="57150" y="0"/>
                        </a:lnTo>
                        <a:close/>
                      </a:path>
                    </a:pathLst>
                  </a:custGeom>
                  <a:grpFill/>
                  <a:ln w="9525" cap="flat">
                    <a:noFill/>
                    <a:prstDash val="solid"/>
                    <a:miter/>
                  </a:ln>
                </p:spPr>
                <p:txBody>
                  <a:bodyPr rtlCol="0" anchor="ctr"/>
                  <a:lstStyle/>
                  <a:p>
                    <a:endParaRPr lang="zh-CN" altLang="en-US"/>
                  </a:p>
                </p:txBody>
              </p:sp>
              <p:sp>
                <p:nvSpPr>
                  <p:cNvPr id="172" name="任意多边形: 形状 171"/>
                  <p:cNvSpPr/>
                  <p:nvPr/>
                </p:nvSpPr>
                <p:spPr>
                  <a:xfrm>
                    <a:off x="3081823" y="5324094"/>
                    <a:ext cx="212381" cy="114359"/>
                  </a:xfrm>
                  <a:custGeom>
                    <a:avLst/>
                    <a:gdLst>
                      <a:gd name="connsiteX0" fmla="*/ 0 w 123825"/>
                      <a:gd name="connsiteY0" fmla="*/ 0 h 66675"/>
                      <a:gd name="connsiteX1" fmla="*/ 66675 w 123825"/>
                      <a:gd name="connsiteY1" fmla="*/ 66675 h 66675"/>
                      <a:gd name="connsiteX2" fmla="*/ 123825 w 123825"/>
                      <a:gd name="connsiteY2" fmla="*/ 66675 h 66675"/>
                      <a:gd name="connsiteX3" fmla="*/ 57150 w 123825"/>
                      <a:gd name="connsiteY3" fmla="*/ 0 h 66675"/>
                    </a:gdLst>
                    <a:ahLst/>
                    <a:cxnLst>
                      <a:cxn ang="0">
                        <a:pos x="connsiteX0" y="connsiteY0"/>
                      </a:cxn>
                      <a:cxn ang="0">
                        <a:pos x="connsiteX1" y="connsiteY1"/>
                      </a:cxn>
                      <a:cxn ang="0">
                        <a:pos x="connsiteX2" y="connsiteY2"/>
                      </a:cxn>
                      <a:cxn ang="0">
                        <a:pos x="connsiteX3" y="connsiteY3"/>
                      </a:cxn>
                    </a:cxnLst>
                    <a:rect l="l" t="t" r="r" b="b"/>
                    <a:pathLst>
                      <a:path w="123825" h="66675">
                        <a:moveTo>
                          <a:pt x="0" y="0"/>
                        </a:moveTo>
                        <a:lnTo>
                          <a:pt x="66675" y="66675"/>
                        </a:lnTo>
                        <a:lnTo>
                          <a:pt x="123825" y="66675"/>
                        </a:lnTo>
                        <a:lnTo>
                          <a:pt x="57150" y="0"/>
                        </a:lnTo>
                        <a:close/>
                      </a:path>
                    </a:pathLst>
                  </a:custGeom>
                  <a:grpFill/>
                  <a:ln w="9525" cap="flat">
                    <a:noFill/>
                    <a:prstDash val="solid"/>
                    <a:miter/>
                  </a:ln>
                </p:spPr>
                <p:txBody>
                  <a:bodyPr rtlCol="0" anchor="ctr"/>
                  <a:lstStyle/>
                  <a:p>
                    <a:endParaRPr lang="zh-CN" altLang="en-US"/>
                  </a:p>
                </p:txBody>
              </p:sp>
              <p:sp>
                <p:nvSpPr>
                  <p:cNvPr id="173" name="任意多边形: 形状 172"/>
                  <p:cNvSpPr/>
                  <p:nvPr/>
                </p:nvSpPr>
                <p:spPr>
                  <a:xfrm>
                    <a:off x="2918453" y="5324094"/>
                    <a:ext cx="212381" cy="114359"/>
                  </a:xfrm>
                  <a:custGeom>
                    <a:avLst/>
                    <a:gdLst>
                      <a:gd name="connsiteX0" fmla="*/ 0 w 123825"/>
                      <a:gd name="connsiteY0" fmla="*/ 0 h 66675"/>
                      <a:gd name="connsiteX1" fmla="*/ 66675 w 123825"/>
                      <a:gd name="connsiteY1" fmla="*/ 66675 h 66675"/>
                      <a:gd name="connsiteX2" fmla="*/ 123825 w 123825"/>
                      <a:gd name="connsiteY2" fmla="*/ 66675 h 66675"/>
                      <a:gd name="connsiteX3" fmla="*/ 57150 w 123825"/>
                      <a:gd name="connsiteY3" fmla="*/ 0 h 66675"/>
                    </a:gdLst>
                    <a:ahLst/>
                    <a:cxnLst>
                      <a:cxn ang="0">
                        <a:pos x="connsiteX0" y="connsiteY0"/>
                      </a:cxn>
                      <a:cxn ang="0">
                        <a:pos x="connsiteX1" y="connsiteY1"/>
                      </a:cxn>
                      <a:cxn ang="0">
                        <a:pos x="connsiteX2" y="connsiteY2"/>
                      </a:cxn>
                      <a:cxn ang="0">
                        <a:pos x="connsiteX3" y="connsiteY3"/>
                      </a:cxn>
                    </a:cxnLst>
                    <a:rect l="l" t="t" r="r" b="b"/>
                    <a:pathLst>
                      <a:path w="123825" h="66675">
                        <a:moveTo>
                          <a:pt x="0" y="0"/>
                        </a:moveTo>
                        <a:lnTo>
                          <a:pt x="66675" y="66675"/>
                        </a:lnTo>
                        <a:lnTo>
                          <a:pt x="123825" y="66675"/>
                        </a:lnTo>
                        <a:lnTo>
                          <a:pt x="57150" y="0"/>
                        </a:lnTo>
                        <a:close/>
                      </a:path>
                    </a:pathLst>
                  </a:custGeom>
                  <a:grpFill/>
                  <a:ln w="9525" cap="flat">
                    <a:noFill/>
                    <a:prstDash val="solid"/>
                    <a:miter/>
                  </a:ln>
                </p:spPr>
                <p:txBody>
                  <a:bodyPr rtlCol="0" anchor="ctr"/>
                  <a:lstStyle/>
                  <a:p>
                    <a:endParaRPr lang="zh-CN" altLang="en-US"/>
                  </a:p>
                </p:txBody>
              </p:sp>
              <p:sp>
                <p:nvSpPr>
                  <p:cNvPr id="174" name="任意多边形: 形状 173"/>
                  <p:cNvSpPr/>
                  <p:nvPr/>
                </p:nvSpPr>
                <p:spPr>
                  <a:xfrm>
                    <a:off x="2755083" y="5324094"/>
                    <a:ext cx="212381" cy="114359"/>
                  </a:xfrm>
                  <a:custGeom>
                    <a:avLst/>
                    <a:gdLst>
                      <a:gd name="connsiteX0" fmla="*/ 0 w 123825"/>
                      <a:gd name="connsiteY0" fmla="*/ 0 h 66675"/>
                      <a:gd name="connsiteX1" fmla="*/ 66675 w 123825"/>
                      <a:gd name="connsiteY1" fmla="*/ 66675 h 66675"/>
                      <a:gd name="connsiteX2" fmla="*/ 123825 w 123825"/>
                      <a:gd name="connsiteY2" fmla="*/ 66675 h 66675"/>
                      <a:gd name="connsiteX3" fmla="*/ 57150 w 123825"/>
                      <a:gd name="connsiteY3" fmla="*/ 0 h 66675"/>
                    </a:gdLst>
                    <a:ahLst/>
                    <a:cxnLst>
                      <a:cxn ang="0">
                        <a:pos x="connsiteX0" y="connsiteY0"/>
                      </a:cxn>
                      <a:cxn ang="0">
                        <a:pos x="connsiteX1" y="connsiteY1"/>
                      </a:cxn>
                      <a:cxn ang="0">
                        <a:pos x="connsiteX2" y="connsiteY2"/>
                      </a:cxn>
                      <a:cxn ang="0">
                        <a:pos x="connsiteX3" y="connsiteY3"/>
                      </a:cxn>
                    </a:cxnLst>
                    <a:rect l="l" t="t" r="r" b="b"/>
                    <a:pathLst>
                      <a:path w="123825" h="66675">
                        <a:moveTo>
                          <a:pt x="0" y="0"/>
                        </a:moveTo>
                        <a:lnTo>
                          <a:pt x="66675" y="66675"/>
                        </a:lnTo>
                        <a:lnTo>
                          <a:pt x="123825" y="66675"/>
                        </a:lnTo>
                        <a:lnTo>
                          <a:pt x="57150" y="0"/>
                        </a:lnTo>
                        <a:close/>
                      </a:path>
                    </a:pathLst>
                  </a:custGeom>
                  <a:grpFill/>
                  <a:ln w="9525" cap="flat">
                    <a:noFill/>
                    <a:prstDash val="solid"/>
                    <a:miter/>
                  </a:ln>
                </p:spPr>
                <p:txBody>
                  <a:bodyPr rtlCol="0" anchor="ctr"/>
                  <a:lstStyle/>
                  <a:p>
                    <a:endParaRPr lang="zh-CN" altLang="en-US"/>
                  </a:p>
                </p:txBody>
              </p:sp>
            </p:grpSp>
            <p:sp>
              <p:nvSpPr>
                <p:cNvPr id="165" name="任意多边形: 形状 164"/>
                <p:cNvSpPr/>
                <p:nvPr/>
              </p:nvSpPr>
              <p:spPr>
                <a:xfrm>
                  <a:off x="2199625" y="5324094"/>
                  <a:ext cx="604469" cy="114359"/>
                </a:xfrm>
                <a:custGeom>
                  <a:avLst/>
                  <a:gdLst>
                    <a:gd name="connsiteX0" fmla="*/ 352425 w 352425"/>
                    <a:gd name="connsiteY0" fmla="*/ 66675 h 66675"/>
                    <a:gd name="connsiteX1" fmla="*/ 66675 w 352425"/>
                    <a:gd name="connsiteY1" fmla="*/ 66675 h 66675"/>
                    <a:gd name="connsiteX2" fmla="*/ 0 w 352425"/>
                    <a:gd name="connsiteY2" fmla="*/ 0 h 66675"/>
                    <a:gd name="connsiteX3" fmla="*/ 285750 w 352425"/>
                    <a:gd name="connsiteY3" fmla="*/ 0 h 66675"/>
                  </a:gdLst>
                  <a:ahLst/>
                  <a:cxnLst>
                    <a:cxn ang="0">
                      <a:pos x="connsiteX0" y="connsiteY0"/>
                    </a:cxn>
                    <a:cxn ang="0">
                      <a:pos x="connsiteX1" y="connsiteY1"/>
                    </a:cxn>
                    <a:cxn ang="0">
                      <a:pos x="connsiteX2" y="connsiteY2"/>
                    </a:cxn>
                    <a:cxn ang="0">
                      <a:pos x="connsiteX3" y="connsiteY3"/>
                    </a:cxn>
                  </a:cxnLst>
                  <a:rect l="l" t="t" r="r" b="b"/>
                  <a:pathLst>
                    <a:path w="352425" h="66675">
                      <a:moveTo>
                        <a:pt x="352425" y="66675"/>
                      </a:moveTo>
                      <a:lnTo>
                        <a:pt x="66675" y="66675"/>
                      </a:lnTo>
                      <a:lnTo>
                        <a:pt x="0" y="0"/>
                      </a:lnTo>
                      <a:lnTo>
                        <a:pt x="285750" y="0"/>
                      </a:lnTo>
                      <a:close/>
                    </a:path>
                  </a:pathLst>
                </a:custGeom>
                <a:solidFill>
                  <a:schemeClr val="accent3">
                    <a:alpha val="50000"/>
                  </a:schemeClr>
                </a:solidFill>
                <a:ln w="9525" cap="flat">
                  <a:noFill/>
                  <a:prstDash val="solid"/>
                  <a:miter/>
                </a:ln>
              </p:spPr>
              <p:txBody>
                <a:bodyPr rtlCol="0" anchor="ctr"/>
                <a:lstStyle/>
                <a:p>
                  <a:endParaRPr lang="zh-CN" altLang="en-US"/>
                </a:p>
              </p:txBody>
            </p:sp>
            <p:sp>
              <p:nvSpPr>
                <p:cNvPr id="166" name="任意多边形: 形状 165"/>
                <p:cNvSpPr/>
                <p:nvPr/>
              </p:nvSpPr>
              <p:spPr>
                <a:xfrm>
                  <a:off x="1644167" y="5324094"/>
                  <a:ext cx="604469" cy="114359"/>
                </a:xfrm>
                <a:custGeom>
                  <a:avLst/>
                  <a:gdLst>
                    <a:gd name="connsiteX0" fmla="*/ 285750 w 352425"/>
                    <a:gd name="connsiteY0" fmla="*/ 0 h 66675"/>
                    <a:gd name="connsiteX1" fmla="*/ 0 w 352425"/>
                    <a:gd name="connsiteY1" fmla="*/ 0 h 66675"/>
                    <a:gd name="connsiteX2" fmla="*/ 66675 w 352425"/>
                    <a:gd name="connsiteY2" fmla="*/ 66675 h 66675"/>
                    <a:gd name="connsiteX3" fmla="*/ 352425 w 352425"/>
                    <a:gd name="connsiteY3" fmla="*/ 66675 h 66675"/>
                    <a:gd name="connsiteX4" fmla="*/ 285750 w 352425"/>
                    <a:gd name="connsiteY4" fmla="*/ 0 h 66675"/>
                    <a:gd name="connsiteX5" fmla="*/ 28575 w 352425"/>
                    <a:gd name="connsiteY5" fmla="*/ 9525 h 66675"/>
                    <a:gd name="connsiteX6" fmla="*/ 276225 w 352425"/>
                    <a:gd name="connsiteY6" fmla="*/ 9525 h 66675"/>
                    <a:gd name="connsiteX7" fmla="*/ 323850 w 352425"/>
                    <a:gd name="connsiteY7" fmla="*/ 57150 h 66675"/>
                    <a:gd name="connsiteX8" fmla="*/ 76200 w 352425"/>
                    <a:gd name="connsiteY8" fmla="*/ 57150 h 66675"/>
                    <a:gd name="connsiteX9" fmla="*/ 28575 w 352425"/>
                    <a:gd name="connsiteY9" fmla="*/ 9525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2425" h="66675">
                      <a:moveTo>
                        <a:pt x="285750" y="0"/>
                      </a:moveTo>
                      <a:lnTo>
                        <a:pt x="0" y="0"/>
                      </a:lnTo>
                      <a:lnTo>
                        <a:pt x="66675" y="66675"/>
                      </a:lnTo>
                      <a:lnTo>
                        <a:pt x="352425" y="66675"/>
                      </a:lnTo>
                      <a:lnTo>
                        <a:pt x="285750" y="0"/>
                      </a:lnTo>
                      <a:close/>
                      <a:moveTo>
                        <a:pt x="28575" y="9525"/>
                      </a:moveTo>
                      <a:lnTo>
                        <a:pt x="276225" y="9525"/>
                      </a:lnTo>
                      <a:lnTo>
                        <a:pt x="323850" y="57150"/>
                      </a:lnTo>
                      <a:lnTo>
                        <a:pt x="76200" y="57150"/>
                      </a:lnTo>
                      <a:lnTo>
                        <a:pt x="28575" y="9525"/>
                      </a:lnTo>
                      <a:close/>
                    </a:path>
                  </a:pathLst>
                </a:custGeom>
                <a:solidFill>
                  <a:schemeClr val="accent3"/>
                </a:solidFill>
                <a:ln w="9525" cap="flat">
                  <a:noFill/>
                  <a:prstDash val="solid"/>
                  <a:miter/>
                </a:ln>
              </p:spPr>
              <p:txBody>
                <a:bodyPr rtlCol="0" anchor="ctr"/>
                <a:lstStyle/>
                <a:p>
                  <a:endParaRPr lang="zh-CN" altLang="en-US"/>
                </a:p>
              </p:txBody>
            </p:sp>
          </p:grpSp>
          <p:grpSp>
            <p:nvGrpSpPr>
              <p:cNvPr id="121" name="组合 120"/>
              <p:cNvGrpSpPr/>
              <p:nvPr/>
            </p:nvGrpSpPr>
            <p:grpSpPr>
              <a:xfrm>
                <a:off x="9110178" y="4981017"/>
                <a:ext cx="1829744" cy="496643"/>
                <a:chOff x="7853362" y="4333875"/>
                <a:chExt cx="1066800" cy="289559"/>
              </a:xfrm>
              <a:gradFill flip="none" rotWithShape="1">
                <a:gsLst>
                  <a:gs pos="0">
                    <a:schemeClr val="accent3"/>
                  </a:gs>
                  <a:gs pos="80000">
                    <a:schemeClr val="accent3">
                      <a:lumMod val="60000"/>
                      <a:lumOff val="40000"/>
                    </a:schemeClr>
                  </a:gs>
                </a:gsLst>
                <a:lin ang="16200000" scaled="1"/>
                <a:tileRect/>
              </a:gradFill>
            </p:grpSpPr>
            <p:sp>
              <p:nvSpPr>
                <p:cNvPr id="161" name="任意多边形: 形状 160"/>
                <p:cNvSpPr/>
                <p:nvPr/>
              </p:nvSpPr>
              <p:spPr>
                <a:xfrm>
                  <a:off x="8620219" y="4333875"/>
                  <a:ext cx="299942" cy="289559"/>
                </a:xfrm>
                <a:custGeom>
                  <a:avLst/>
                  <a:gdLst>
                    <a:gd name="connsiteX0" fmla="*/ 0 w 299942"/>
                    <a:gd name="connsiteY0" fmla="*/ 289560 h 289559"/>
                    <a:gd name="connsiteX1" fmla="*/ 70771 w 299942"/>
                    <a:gd name="connsiteY1" fmla="*/ 289560 h 289559"/>
                    <a:gd name="connsiteX2" fmla="*/ 299942 w 299942"/>
                    <a:gd name="connsiteY2" fmla="*/ 70771 h 289559"/>
                    <a:gd name="connsiteX3" fmla="*/ 299942 w 299942"/>
                    <a:gd name="connsiteY3" fmla="*/ 0 h 289559"/>
                  </a:gdLst>
                  <a:ahLst/>
                  <a:cxnLst>
                    <a:cxn ang="0">
                      <a:pos x="connsiteX0" y="connsiteY0"/>
                    </a:cxn>
                    <a:cxn ang="0">
                      <a:pos x="connsiteX1" y="connsiteY1"/>
                    </a:cxn>
                    <a:cxn ang="0">
                      <a:pos x="connsiteX2" y="connsiteY2"/>
                    </a:cxn>
                    <a:cxn ang="0">
                      <a:pos x="connsiteX3" y="connsiteY3"/>
                    </a:cxn>
                  </a:cxnLst>
                  <a:rect l="l" t="t" r="r" b="b"/>
                  <a:pathLst>
                    <a:path w="299942" h="289559">
                      <a:moveTo>
                        <a:pt x="0" y="289560"/>
                      </a:moveTo>
                      <a:lnTo>
                        <a:pt x="70771" y="289560"/>
                      </a:lnTo>
                      <a:lnTo>
                        <a:pt x="299942" y="70771"/>
                      </a:lnTo>
                      <a:lnTo>
                        <a:pt x="299942" y="0"/>
                      </a:lnTo>
                      <a:close/>
                    </a:path>
                  </a:pathLst>
                </a:custGeom>
                <a:grpFill/>
                <a:ln w="9525" cap="flat">
                  <a:noFill/>
                  <a:prstDash val="solid"/>
                  <a:miter/>
                </a:ln>
              </p:spPr>
              <p:txBody>
                <a:bodyPr rtlCol="0" anchor="ctr"/>
                <a:lstStyle/>
                <a:p>
                  <a:endParaRPr lang="zh-CN" altLang="en-US"/>
                </a:p>
              </p:txBody>
            </p:sp>
            <p:sp>
              <p:nvSpPr>
                <p:cNvPr id="162" name="任意多边形: 形状 161"/>
                <p:cNvSpPr/>
                <p:nvPr/>
              </p:nvSpPr>
              <p:spPr>
                <a:xfrm>
                  <a:off x="7853362" y="4483608"/>
                  <a:ext cx="849630" cy="139826"/>
                </a:xfrm>
                <a:custGeom>
                  <a:avLst/>
                  <a:gdLst>
                    <a:gd name="connsiteX0" fmla="*/ 849630 w 849630"/>
                    <a:gd name="connsiteY0" fmla="*/ 0 h 139826"/>
                    <a:gd name="connsiteX1" fmla="*/ 714756 w 849630"/>
                    <a:gd name="connsiteY1" fmla="*/ 130302 h 139826"/>
                    <a:gd name="connsiteX2" fmla="*/ 0 w 849630"/>
                    <a:gd name="connsiteY2" fmla="*/ 130302 h 139826"/>
                    <a:gd name="connsiteX3" fmla="*/ 0 w 849630"/>
                    <a:gd name="connsiteY3" fmla="*/ 139827 h 139826"/>
                    <a:gd name="connsiteX4" fmla="*/ 704850 w 849630"/>
                    <a:gd name="connsiteY4" fmla="*/ 139827 h 139826"/>
                    <a:gd name="connsiteX5" fmla="*/ 723900 w 849630"/>
                    <a:gd name="connsiteY5" fmla="*/ 139827 h 139826"/>
                    <a:gd name="connsiteX6" fmla="*/ 729805 w 849630"/>
                    <a:gd name="connsiteY6" fmla="*/ 139827 h 139826"/>
                    <a:gd name="connsiteX7" fmla="*/ 849630 w 849630"/>
                    <a:gd name="connsiteY7" fmla="*/ 24955 h 139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49630" h="139826">
                      <a:moveTo>
                        <a:pt x="849630" y="0"/>
                      </a:moveTo>
                      <a:lnTo>
                        <a:pt x="714756" y="130302"/>
                      </a:lnTo>
                      <a:lnTo>
                        <a:pt x="0" y="130302"/>
                      </a:lnTo>
                      <a:lnTo>
                        <a:pt x="0" y="139827"/>
                      </a:lnTo>
                      <a:lnTo>
                        <a:pt x="704850" y="139827"/>
                      </a:lnTo>
                      <a:lnTo>
                        <a:pt x="723900" y="139827"/>
                      </a:lnTo>
                      <a:lnTo>
                        <a:pt x="729805" y="139827"/>
                      </a:lnTo>
                      <a:lnTo>
                        <a:pt x="849630" y="24955"/>
                      </a:lnTo>
                      <a:close/>
                    </a:path>
                  </a:pathLst>
                </a:custGeom>
                <a:grpFill/>
                <a:ln w="9525" cap="flat">
                  <a:noFill/>
                  <a:prstDash val="solid"/>
                  <a:miter/>
                </a:ln>
              </p:spPr>
              <p:txBody>
                <a:bodyPr rtlCol="0" anchor="ctr"/>
                <a:lstStyle/>
                <a:p>
                  <a:endParaRPr lang="zh-CN" altLang="en-US"/>
                </a:p>
              </p:txBody>
            </p:sp>
          </p:grpSp>
          <p:sp>
            <p:nvSpPr>
              <p:cNvPr id="122" name="任意多边形: 形状 121"/>
              <p:cNvSpPr/>
              <p:nvPr/>
            </p:nvSpPr>
            <p:spPr>
              <a:xfrm>
                <a:off x="1105046" y="2696613"/>
                <a:ext cx="9981909" cy="2954219"/>
              </a:xfrm>
              <a:custGeom>
                <a:avLst/>
                <a:gdLst>
                  <a:gd name="connsiteX0" fmla="*/ 5772150 w 5819775"/>
                  <a:gd name="connsiteY0" fmla="*/ 866775 h 1722405"/>
                  <a:gd name="connsiteX1" fmla="*/ 5772150 w 5819775"/>
                  <a:gd name="connsiteY1" fmla="*/ 1435132 h 1722405"/>
                  <a:gd name="connsiteX2" fmla="*/ 5544217 w 5819775"/>
                  <a:gd name="connsiteY2" fmla="*/ 1655731 h 1722405"/>
                  <a:gd name="connsiteX3" fmla="*/ 4432649 w 5819775"/>
                  <a:gd name="connsiteY3" fmla="*/ 1655731 h 1722405"/>
                  <a:gd name="connsiteX4" fmla="*/ 4212050 w 5819775"/>
                  <a:gd name="connsiteY4" fmla="*/ 1446181 h 1722405"/>
                  <a:gd name="connsiteX5" fmla="*/ 4133850 w 5819775"/>
                  <a:gd name="connsiteY5" fmla="*/ 1446181 h 1722405"/>
                  <a:gd name="connsiteX6" fmla="*/ 4095750 w 5819775"/>
                  <a:gd name="connsiteY6" fmla="*/ 1446181 h 1722405"/>
                  <a:gd name="connsiteX7" fmla="*/ 2209800 w 5819775"/>
                  <a:gd name="connsiteY7" fmla="*/ 1446181 h 1722405"/>
                  <a:gd name="connsiteX8" fmla="*/ 2143125 w 5819775"/>
                  <a:gd name="connsiteY8" fmla="*/ 1446181 h 1722405"/>
                  <a:gd name="connsiteX9" fmla="*/ 2095500 w 5819775"/>
                  <a:gd name="connsiteY9" fmla="*/ 1446181 h 1722405"/>
                  <a:gd name="connsiteX10" fmla="*/ 1893189 w 5819775"/>
                  <a:gd name="connsiteY10" fmla="*/ 1655731 h 1722405"/>
                  <a:gd name="connsiteX11" fmla="*/ 275558 w 5819775"/>
                  <a:gd name="connsiteY11" fmla="*/ 1655731 h 1722405"/>
                  <a:gd name="connsiteX12" fmla="*/ 47625 w 5819775"/>
                  <a:gd name="connsiteY12" fmla="*/ 1435132 h 1722405"/>
                  <a:gd name="connsiteX13" fmla="*/ 47625 w 5819775"/>
                  <a:gd name="connsiteY13" fmla="*/ 0 h 1722405"/>
                  <a:gd name="connsiteX14" fmla="*/ 0 w 5819775"/>
                  <a:gd name="connsiteY14" fmla="*/ 0 h 1722405"/>
                  <a:gd name="connsiteX15" fmla="*/ 0 w 5819775"/>
                  <a:gd name="connsiteY15" fmla="*/ 1389031 h 1722405"/>
                  <a:gd name="connsiteX16" fmla="*/ 0 w 5819775"/>
                  <a:gd name="connsiteY16" fmla="*/ 1446181 h 1722405"/>
                  <a:gd name="connsiteX17" fmla="*/ 0 w 5819775"/>
                  <a:gd name="connsiteY17" fmla="*/ 1455706 h 1722405"/>
                  <a:gd name="connsiteX18" fmla="*/ 273463 w 5819775"/>
                  <a:gd name="connsiteY18" fmla="*/ 1719739 h 1722405"/>
                  <a:gd name="connsiteX19" fmla="*/ 274511 w 5819775"/>
                  <a:gd name="connsiteY19" fmla="*/ 1722406 h 1722405"/>
                  <a:gd name="connsiteX20" fmla="*/ 1828800 w 5819775"/>
                  <a:gd name="connsiteY20" fmla="*/ 1722406 h 1722405"/>
                  <a:gd name="connsiteX21" fmla="*/ 1914525 w 5819775"/>
                  <a:gd name="connsiteY21" fmla="*/ 1722406 h 1722405"/>
                  <a:gd name="connsiteX22" fmla="*/ 1943100 w 5819775"/>
                  <a:gd name="connsiteY22" fmla="*/ 1722406 h 1722405"/>
                  <a:gd name="connsiteX23" fmla="*/ 2191417 w 5819775"/>
                  <a:gd name="connsiteY23" fmla="*/ 1465231 h 1722405"/>
                  <a:gd name="connsiteX24" fmla="*/ 4115848 w 5819775"/>
                  <a:gd name="connsiteY24" fmla="*/ 1465231 h 1722405"/>
                  <a:gd name="connsiteX25" fmla="*/ 4386548 w 5819775"/>
                  <a:gd name="connsiteY25" fmla="*/ 1722406 h 1722405"/>
                  <a:gd name="connsiteX26" fmla="*/ 4457700 w 5819775"/>
                  <a:gd name="connsiteY26" fmla="*/ 1722406 h 1722405"/>
                  <a:gd name="connsiteX27" fmla="*/ 4502849 w 5819775"/>
                  <a:gd name="connsiteY27" fmla="*/ 1722406 h 1722405"/>
                  <a:gd name="connsiteX28" fmla="*/ 5545265 w 5819775"/>
                  <a:gd name="connsiteY28" fmla="*/ 1722406 h 1722405"/>
                  <a:gd name="connsiteX29" fmla="*/ 5546312 w 5819775"/>
                  <a:gd name="connsiteY29" fmla="*/ 1719739 h 1722405"/>
                  <a:gd name="connsiteX30" fmla="*/ 5819775 w 5819775"/>
                  <a:gd name="connsiteY30" fmla="*/ 1455706 h 1722405"/>
                  <a:gd name="connsiteX31" fmla="*/ 5819775 w 5819775"/>
                  <a:gd name="connsiteY31" fmla="*/ 1446181 h 1722405"/>
                  <a:gd name="connsiteX32" fmla="*/ 5819775 w 5819775"/>
                  <a:gd name="connsiteY32" fmla="*/ 1389031 h 1722405"/>
                  <a:gd name="connsiteX33" fmla="*/ 5819775 w 5819775"/>
                  <a:gd name="connsiteY33" fmla="*/ 866775 h 1722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5819775" h="1722405">
                    <a:moveTo>
                      <a:pt x="5772150" y="866775"/>
                    </a:moveTo>
                    <a:lnTo>
                      <a:pt x="5772150" y="1435132"/>
                    </a:lnTo>
                    <a:lnTo>
                      <a:pt x="5544217" y="1655731"/>
                    </a:lnTo>
                    <a:lnTo>
                      <a:pt x="4432649" y="1655731"/>
                    </a:lnTo>
                    <a:lnTo>
                      <a:pt x="4212050" y="1446181"/>
                    </a:lnTo>
                    <a:lnTo>
                      <a:pt x="4133850" y="1446181"/>
                    </a:lnTo>
                    <a:lnTo>
                      <a:pt x="4095750" y="1446181"/>
                    </a:lnTo>
                    <a:lnTo>
                      <a:pt x="2209800" y="1446181"/>
                    </a:lnTo>
                    <a:lnTo>
                      <a:pt x="2143125" y="1446181"/>
                    </a:lnTo>
                    <a:lnTo>
                      <a:pt x="2095500" y="1446181"/>
                    </a:lnTo>
                    <a:lnTo>
                      <a:pt x="1893189" y="1655731"/>
                    </a:lnTo>
                    <a:lnTo>
                      <a:pt x="275558" y="1655731"/>
                    </a:lnTo>
                    <a:lnTo>
                      <a:pt x="47625" y="1435132"/>
                    </a:lnTo>
                    <a:lnTo>
                      <a:pt x="47625" y="0"/>
                    </a:lnTo>
                    <a:lnTo>
                      <a:pt x="0" y="0"/>
                    </a:lnTo>
                    <a:lnTo>
                      <a:pt x="0" y="1389031"/>
                    </a:lnTo>
                    <a:lnTo>
                      <a:pt x="0" y="1446181"/>
                    </a:lnTo>
                    <a:lnTo>
                      <a:pt x="0" y="1455706"/>
                    </a:lnTo>
                    <a:lnTo>
                      <a:pt x="273463" y="1719739"/>
                    </a:lnTo>
                    <a:lnTo>
                      <a:pt x="274511" y="1722406"/>
                    </a:lnTo>
                    <a:lnTo>
                      <a:pt x="1828800" y="1722406"/>
                    </a:lnTo>
                    <a:lnTo>
                      <a:pt x="1914525" y="1722406"/>
                    </a:lnTo>
                    <a:lnTo>
                      <a:pt x="1943100" y="1722406"/>
                    </a:lnTo>
                    <a:lnTo>
                      <a:pt x="2191417" y="1465231"/>
                    </a:lnTo>
                    <a:lnTo>
                      <a:pt x="4115848" y="1465231"/>
                    </a:lnTo>
                    <a:lnTo>
                      <a:pt x="4386548" y="1722406"/>
                    </a:lnTo>
                    <a:lnTo>
                      <a:pt x="4457700" y="1722406"/>
                    </a:lnTo>
                    <a:lnTo>
                      <a:pt x="4502849" y="1722406"/>
                    </a:lnTo>
                    <a:lnTo>
                      <a:pt x="5545265" y="1722406"/>
                    </a:lnTo>
                    <a:lnTo>
                      <a:pt x="5546312" y="1719739"/>
                    </a:lnTo>
                    <a:lnTo>
                      <a:pt x="5819775" y="1455706"/>
                    </a:lnTo>
                    <a:lnTo>
                      <a:pt x="5819775" y="1446181"/>
                    </a:lnTo>
                    <a:lnTo>
                      <a:pt x="5819775" y="1389031"/>
                    </a:lnTo>
                    <a:lnTo>
                      <a:pt x="5819775" y="866775"/>
                    </a:lnTo>
                    <a:close/>
                  </a:path>
                </a:pathLst>
              </a:custGeom>
              <a:gradFill flip="none" rotWithShape="1">
                <a:gsLst>
                  <a:gs pos="30000">
                    <a:schemeClr val="accent2">
                      <a:lumMod val="40000"/>
                      <a:lumOff val="60000"/>
                    </a:schemeClr>
                  </a:gs>
                  <a:gs pos="100000">
                    <a:schemeClr val="accent2"/>
                  </a:gs>
                </a:gsLst>
                <a:lin ang="5400000" scaled="1"/>
                <a:tileRect/>
              </a:gradFill>
              <a:ln w="9525" cap="flat">
                <a:noFill/>
                <a:prstDash val="solid"/>
                <a:miter/>
              </a:ln>
            </p:spPr>
            <p:txBody>
              <a:bodyPr rtlCol="0" anchor="ctr"/>
              <a:lstStyle/>
              <a:p>
                <a:endParaRPr lang="zh-CN" altLang="en-US"/>
              </a:p>
            </p:txBody>
          </p:sp>
          <p:sp>
            <p:nvSpPr>
              <p:cNvPr id="123" name="任意多边形: 形状 122"/>
              <p:cNvSpPr/>
              <p:nvPr/>
            </p:nvSpPr>
            <p:spPr>
              <a:xfrm>
                <a:off x="1105046" y="1207169"/>
                <a:ext cx="3332749" cy="1306960"/>
              </a:xfrm>
              <a:custGeom>
                <a:avLst/>
                <a:gdLst>
                  <a:gd name="connsiteX0" fmla="*/ 1943100 w 1943100"/>
                  <a:gd name="connsiteY0" fmla="*/ 47625 h 762000"/>
                  <a:gd name="connsiteX1" fmla="*/ 1943100 w 1943100"/>
                  <a:gd name="connsiteY1" fmla="*/ 0 h 762000"/>
                  <a:gd name="connsiteX2" fmla="*/ 276225 w 1943100"/>
                  <a:gd name="connsiteY2" fmla="*/ 0 h 762000"/>
                  <a:gd name="connsiteX3" fmla="*/ 0 w 1943100"/>
                  <a:gd name="connsiteY3" fmla="*/ 266700 h 762000"/>
                  <a:gd name="connsiteX4" fmla="*/ 0 w 1943100"/>
                  <a:gd name="connsiteY4" fmla="*/ 285750 h 762000"/>
                  <a:gd name="connsiteX5" fmla="*/ 0 w 1943100"/>
                  <a:gd name="connsiteY5" fmla="*/ 323850 h 762000"/>
                  <a:gd name="connsiteX6" fmla="*/ 0 w 1943100"/>
                  <a:gd name="connsiteY6" fmla="*/ 762000 h 762000"/>
                  <a:gd name="connsiteX7" fmla="*/ 47625 w 1943100"/>
                  <a:gd name="connsiteY7" fmla="*/ 762000 h 762000"/>
                  <a:gd name="connsiteX8" fmla="*/ 47625 w 1943100"/>
                  <a:gd name="connsiteY8" fmla="*/ 277749 h 762000"/>
                  <a:gd name="connsiteX9" fmla="*/ 285464 w 1943100"/>
                  <a:gd name="connsiteY9" fmla="*/ 47625 h 76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3100" h="762000">
                    <a:moveTo>
                      <a:pt x="1943100" y="47625"/>
                    </a:moveTo>
                    <a:lnTo>
                      <a:pt x="1943100" y="0"/>
                    </a:lnTo>
                    <a:lnTo>
                      <a:pt x="276225" y="0"/>
                    </a:lnTo>
                    <a:lnTo>
                      <a:pt x="0" y="266700"/>
                    </a:lnTo>
                    <a:lnTo>
                      <a:pt x="0" y="285750"/>
                    </a:lnTo>
                    <a:lnTo>
                      <a:pt x="0" y="323850"/>
                    </a:lnTo>
                    <a:lnTo>
                      <a:pt x="0" y="762000"/>
                    </a:lnTo>
                    <a:lnTo>
                      <a:pt x="47625" y="762000"/>
                    </a:lnTo>
                    <a:lnTo>
                      <a:pt x="47625" y="277749"/>
                    </a:lnTo>
                    <a:lnTo>
                      <a:pt x="285464" y="47625"/>
                    </a:lnTo>
                    <a:close/>
                  </a:path>
                </a:pathLst>
              </a:custGeom>
              <a:gradFill flip="none" rotWithShape="1">
                <a:gsLst>
                  <a:gs pos="30000">
                    <a:schemeClr val="accent2">
                      <a:lumMod val="60000"/>
                      <a:lumOff val="40000"/>
                    </a:schemeClr>
                  </a:gs>
                  <a:gs pos="100000">
                    <a:schemeClr val="accent2"/>
                  </a:gs>
                </a:gsLst>
                <a:lin ang="16200000" scaled="1"/>
                <a:tileRect/>
              </a:gradFill>
              <a:ln w="9525" cap="flat">
                <a:noFill/>
                <a:prstDash val="solid"/>
                <a:miter/>
              </a:ln>
            </p:spPr>
            <p:txBody>
              <a:bodyPr rtlCol="0" anchor="ctr"/>
              <a:lstStyle/>
              <a:p>
                <a:endParaRPr lang="zh-CN" altLang="en-US"/>
              </a:p>
            </p:txBody>
          </p:sp>
          <p:sp>
            <p:nvSpPr>
              <p:cNvPr id="124" name="任意多边形: 形状 123"/>
              <p:cNvSpPr/>
              <p:nvPr/>
            </p:nvSpPr>
            <p:spPr>
              <a:xfrm>
                <a:off x="7509151" y="1419550"/>
                <a:ext cx="2091136" cy="16337"/>
              </a:xfrm>
              <a:custGeom>
                <a:avLst/>
                <a:gdLst>
                  <a:gd name="connsiteX0" fmla="*/ 1219200 w 1219200"/>
                  <a:gd name="connsiteY0" fmla="*/ 9525 h 9525"/>
                  <a:gd name="connsiteX1" fmla="*/ 0 w 1219200"/>
                  <a:gd name="connsiteY1" fmla="*/ 9525 h 9525"/>
                  <a:gd name="connsiteX2" fmla="*/ 1143 w 1219200"/>
                  <a:gd name="connsiteY2" fmla="*/ 0 h 9525"/>
                  <a:gd name="connsiteX3" fmla="*/ 1219200 w 1219200"/>
                  <a:gd name="connsiteY3" fmla="*/ 0 h 9525"/>
                </a:gdLst>
                <a:ahLst/>
                <a:cxnLst>
                  <a:cxn ang="0">
                    <a:pos x="connsiteX0" y="connsiteY0"/>
                  </a:cxn>
                  <a:cxn ang="0">
                    <a:pos x="connsiteX1" y="connsiteY1"/>
                  </a:cxn>
                  <a:cxn ang="0">
                    <a:pos x="connsiteX2" y="connsiteY2"/>
                  </a:cxn>
                  <a:cxn ang="0">
                    <a:pos x="connsiteX3" y="connsiteY3"/>
                  </a:cxn>
                </a:cxnLst>
                <a:rect l="l" t="t" r="r" b="b"/>
                <a:pathLst>
                  <a:path w="1219200" h="9525">
                    <a:moveTo>
                      <a:pt x="1219200" y="9525"/>
                    </a:moveTo>
                    <a:lnTo>
                      <a:pt x="0" y="9525"/>
                    </a:lnTo>
                    <a:lnTo>
                      <a:pt x="1143" y="0"/>
                    </a:lnTo>
                    <a:lnTo>
                      <a:pt x="1219200" y="0"/>
                    </a:lnTo>
                    <a:close/>
                  </a:path>
                </a:pathLst>
              </a:custGeom>
              <a:solidFill>
                <a:schemeClr val="accent2">
                  <a:alpha val="50000"/>
                </a:schemeClr>
              </a:solidFill>
              <a:ln w="9525" cap="flat">
                <a:noFill/>
                <a:prstDash val="solid"/>
                <a:miter/>
              </a:ln>
            </p:spPr>
            <p:txBody>
              <a:bodyPr rtlCol="0" anchor="ctr"/>
              <a:lstStyle/>
              <a:p>
                <a:endParaRPr lang="zh-CN" altLang="en-US"/>
              </a:p>
            </p:txBody>
          </p:sp>
          <p:grpSp>
            <p:nvGrpSpPr>
              <p:cNvPr id="125" name="组合 124"/>
              <p:cNvGrpSpPr/>
              <p:nvPr/>
            </p:nvGrpSpPr>
            <p:grpSpPr>
              <a:xfrm>
                <a:off x="1268416" y="1337865"/>
                <a:ext cx="2875312" cy="529319"/>
                <a:chOff x="1268416" y="1337865"/>
                <a:chExt cx="2875312" cy="529319"/>
              </a:xfrm>
            </p:grpSpPr>
            <p:sp>
              <p:nvSpPr>
                <p:cNvPr id="156" name="任意多边形: 形状 155"/>
                <p:cNvSpPr/>
                <p:nvPr/>
              </p:nvSpPr>
              <p:spPr>
                <a:xfrm>
                  <a:off x="3139002" y="1346033"/>
                  <a:ext cx="996557" cy="81685"/>
                </a:xfrm>
                <a:custGeom>
                  <a:avLst/>
                  <a:gdLst>
                    <a:gd name="connsiteX0" fmla="*/ 0 w 581025"/>
                    <a:gd name="connsiteY0" fmla="*/ 0 h 47625"/>
                    <a:gd name="connsiteX1" fmla="*/ 581025 w 581025"/>
                    <a:gd name="connsiteY1" fmla="*/ 0 h 47625"/>
                    <a:gd name="connsiteX2" fmla="*/ 581025 w 581025"/>
                    <a:gd name="connsiteY2" fmla="*/ 47625 h 47625"/>
                    <a:gd name="connsiteX3" fmla="*/ 0 w 581025"/>
                    <a:gd name="connsiteY3" fmla="*/ 47625 h 47625"/>
                  </a:gdLst>
                  <a:ahLst/>
                  <a:cxnLst>
                    <a:cxn ang="0">
                      <a:pos x="connsiteX0" y="connsiteY0"/>
                    </a:cxn>
                    <a:cxn ang="0">
                      <a:pos x="connsiteX1" y="connsiteY1"/>
                    </a:cxn>
                    <a:cxn ang="0">
                      <a:pos x="connsiteX2" y="connsiteY2"/>
                    </a:cxn>
                    <a:cxn ang="0">
                      <a:pos x="connsiteX3" y="connsiteY3"/>
                    </a:cxn>
                  </a:cxnLst>
                  <a:rect l="l" t="t" r="r" b="b"/>
                  <a:pathLst>
                    <a:path w="581025" h="47625">
                      <a:moveTo>
                        <a:pt x="0" y="0"/>
                      </a:moveTo>
                      <a:lnTo>
                        <a:pt x="581025" y="0"/>
                      </a:lnTo>
                      <a:lnTo>
                        <a:pt x="581025" y="47625"/>
                      </a:lnTo>
                      <a:lnTo>
                        <a:pt x="0" y="47625"/>
                      </a:lnTo>
                      <a:close/>
                    </a:path>
                  </a:pathLst>
                </a:custGeom>
                <a:gradFill flip="none" rotWithShape="1">
                  <a:gsLst>
                    <a:gs pos="10000">
                      <a:schemeClr val="accent3">
                        <a:alpha val="0"/>
                      </a:schemeClr>
                    </a:gs>
                    <a:gs pos="100000">
                      <a:schemeClr val="accent3"/>
                    </a:gs>
                  </a:gsLst>
                  <a:lin ang="0" scaled="1"/>
                  <a:tileRect/>
                </a:gradFill>
                <a:ln w="9525" cap="flat">
                  <a:noFill/>
                  <a:prstDash val="solid"/>
                  <a:miter/>
                </a:ln>
              </p:spPr>
              <p:txBody>
                <a:bodyPr rtlCol="0" anchor="ctr"/>
                <a:lstStyle/>
                <a:p>
                  <a:endParaRPr lang="zh-CN" altLang="en-US"/>
                </a:p>
              </p:txBody>
            </p:sp>
            <p:sp>
              <p:nvSpPr>
                <p:cNvPr id="157" name="任意多边形: 形状 156"/>
                <p:cNvSpPr/>
                <p:nvPr/>
              </p:nvSpPr>
              <p:spPr>
                <a:xfrm>
                  <a:off x="3130834" y="1337865"/>
                  <a:ext cx="1012894" cy="98022"/>
                </a:xfrm>
                <a:custGeom>
                  <a:avLst/>
                  <a:gdLst>
                    <a:gd name="connsiteX0" fmla="*/ 0 w 590550"/>
                    <a:gd name="connsiteY0" fmla="*/ 0 h 57150"/>
                    <a:gd name="connsiteX1" fmla="*/ 0 w 590550"/>
                    <a:gd name="connsiteY1" fmla="*/ 57150 h 57150"/>
                    <a:gd name="connsiteX2" fmla="*/ 590550 w 590550"/>
                    <a:gd name="connsiteY2" fmla="*/ 57150 h 57150"/>
                    <a:gd name="connsiteX3" fmla="*/ 590550 w 590550"/>
                    <a:gd name="connsiteY3" fmla="*/ 0 h 57150"/>
                    <a:gd name="connsiteX4" fmla="*/ 0 w 590550"/>
                    <a:gd name="connsiteY4" fmla="*/ 0 h 57150"/>
                    <a:gd name="connsiteX5" fmla="*/ 581025 w 590550"/>
                    <a:gd name="connsiteY5" fmla="*/ 47625 h 57150"/>
                    <a:gd name="connsiteX6" fmla="*/ 9525 w 590550"/>
                    <a:gd name="connsiteY6" fmla="*/ 47625 h 57150"/>
                    <a:gd name="connsiteX7" fmla="*/ 9525 w 590550"/>
                    <a:gd name="connsiteY7" fmla="*/ 9525 h 57150"/>
                    <a:gd name="connsiteX8" fmla="*/ 581025 w 590550"/>
                    <a:gd name="connsiteY8" fmla="*/ 9525 h 57150"/>
                    <a:gd name="connsiteX9" fmla="*/ 581025 w 590550"/>
                    <a:gd name="connsiteY9" fmla="*/ 47625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90550" h="57150">
                      <a:moveTo>
                        <a:pt x="0" y="0"/>
                      </a:moveTo>
                      <a:lnTo>
                        <a:pt x="0" y="57150"/>
                      </a:lnTo>
                      <a:lnTo>
                        <a:pt x="590550" y="57150"/>
                      </a:lnTo>
                      <a:lnTo>
                        <a:pt x="590550" y="0"/>
                      </a:lnTo>
                      <a:lnTo>
                        <a:pt x="0" y="0"/>
                      </a:lnTo>
                      <a:close/>
                      <a:moveTo>
                        <a:pt x="581025" y="47625"/>
                      </a:moveTo>
                      <a:lnTo>
                        <a:pt x="9525" y="47625"/>
                      </a:lnTo>
                      <a:lnTo>
                        <a:pt x="9525" y="9525"/>
                      </a:lnTo>
                      <a:lnTo>
                        <a:pt x="581025" y="9525"/>
                      </a:lnTo>
                      <a:lnTo>
                        <a:pt x="581025" y="47625"/>
                      </a:lnTo>
                      <a:close/>
                    </a:path>
                  </a:pathLst>
                </a:custGeom>
                <a:solidFill>
                  <a:schemeClr val="accent3"/>
                </a:solidFill>
                <a:ln w="9525" cap="flat">
                  <a:noFill/>
                  <a:prstDash val="solid"/>
                  <a:miter/>
                </a:ln>
              </p:spPr>
              <p:txBody>
                <a:bodyPr rtlCol="0" anchor="ctr"/>
                <a:lstStyle/>
                <a:p>
                  <a:endParaRPr lang="zh-CN" altLang="en-US"/>
                </a:p>
              </p:txBody>
            </p:sp>
            <p:grpSp>
              <p:nvGrpSpPr>
                <p:cNvPr id="158" name="组合 157"/>
                <p:cNvGrpSpPr/>
                <p:nvPr/>
              </p:nvGrpSpPr>
              <p:grpSpPr>
                <a:xfrm>
                  <a:off x="1268416" y="1370539"/>
                  <a:ext cx="1878755" cy="496645"/>
                  <a:chOff x="3281362" y="2228850"/>
                  <a:chExt cx="1095375" cy="289560"/>
                </a:xfrm>
                <a:gradFill flip="none" rotWithShape="1">
                  <a:gsLst>
                    <a:gs pos="0">
                      <a:schemeClr val="accent3"/>
                    </a:gs>
                    <a:gs pos="80000">
                      <a:schemeClr val="accent3">
                        <a:lumMod val="60000"/>
                        <a:lumOff val="40000"/>
                      </a:schemeClr>
                    </a:gs>
                  </a:gsLst>
                  <a:lin ang="5400000" scaled="1"/>
                  <a:tileRect/>
                </a:gradFill>
              </p:grpSpPr>
              <p:sp>
                <p:nvSpPr>
                  <p:cNvPr id="159" name="任意多边形: 形状 158"/>
                  <p:cNvSpPr/>
                  <p:nvPr/>
                </p:nvSpPr>
                <p:spPr>
                  <a:xfrm>
                    <a:off x="3281362" y="2228850"/>
                    <a:ext cx="299942" cy="289560"/>
                  </a:xfrm>
                  <a:custGeom>
                    <a:avLst/>
                    <a:gdLst>
                      <a:gd name="connsiteX0" fmla="*/ 229172 w 299942"/>
                      <a:gd name="connsiteY0" fmla="*/ 0 h 289560"/>
                      <a:gd name="connsiteX1" fmla="*/ 0 w 299942"/>
                      <a:gd name="connsiteY1" fmla="*/ 218789 h 289560"/>
                      <a:gd name="connsiteX2" fmla="*/ 0 w 299942"/>
                      <a:gd name="connsiteY2" fmla="*/ 289560 h 289560"/>
                      <a:gd name="connsiteX3" fmla="*/ 299942 w 299942"/>
                      <a:gd name="connsiteY3" fmla="*/ 0 h 289560"/>
                    </a:gdLst>
                    <a:ahLst/>
                    <a:cxnLst>
                      <a:cxn ang="0">
                        <a:pos x="connsiteX0" y="connsiteY0"/>
                      </a:cxn>
                      <a:cxn ang="0">
                        <a:pos x="connsiteX1" y="connsiteY1"/>
                      </a:cxn>
                      <a:cxn ang="0">
                        <a:pos x="connsiteX2" y="connsiteY2"/>
                      </a:cxn>
                      <a:cxn ang="0">
                        <a:pos x="connsiteX3" y="connsiteY3"/>
                      </a:cxn>
                    </a:cxnLst>
                    <a:rect l="l" t="t" r="r" b="b"/>
                    <a:pathLst>
                      <a:path w="299942" h="289560">
                        <a:moveTo>
                          <a:pt x="229172" y="0"/>
                        </a:moveTo>
                        <a:lnTo>
                          <a:pt x="0" y="218789"/>
                        </a:lnTo>
                        <a:lnTo>
                          <a:pt x="0" y="289560"/>
                        </a:lnTo>
                        <a:lnTo>
                          <a:pt x="299942" y="0"/>
                        </a:lnTo>
                        <a:close/>
                      </a:path>
                    </a:pathLst>
                  </a:custGeom>
                  <a:grpFill/>
                  <a:ln w="9525" cap="flat">
                    <a:noFill/>
                    <a:prstDash val="solid"/>
                    <a:miter/>
                  </a:ln>
                </p:spPr>
                <p:txBody>
                  <a:bodyPr rtlCol="0" anchor="ctr"/>
                  <a:lstStyle/>
                  <a:p>
                    <a:endParaRPr lang="zh-CN" altLang="en-US"/>
                  </a:p>
                </p:txBody>
              </p:sp>
              <p:sp>
                <p:nvSpPr>
                  <p:cNvPr id="160" name="任意多边形: 形状 159"/>
                  <p:cNvSpPr/>
                  <p:nvPr/>
                </p:nvSpPr>
                <p:spPr>
                  <a:xfrm>
                    <a:off x="3498531" y="2228850"/>
                    <a:ext cx="878205" cy="139827"/>
                  </a:xfrm>
                  <a:custGeom>
                    <a:avLst/>
                    <a:gdLst>
                      <a:gd name="connsiteX0" fmla="*/ 878205 w 878205"/>
                      <a:gd name="connsiteY0" fmla="*/ 0 h 139827"/>
                      <a:gd name="connsiteX1" fmla="*/ 144780 w 878205"/>
                      <a:gd name="connsiteY1" fmla="*/ 0 h 139827"/>
                      <a:gd name="connsiteX2" fmla="*/ 126873 w 878205"/>
                      <a:gd name="connsiteY2" fmla="*/ 0 h 139827"/>
                      <a:gd name="connsiteX3" fmla="*/ 119825 w 878205"/>
                      <a:gd name="connsiteY3" fmla="*/ 0 h 139827"/>
                      <a:gd name="connsiteX4" fmla="*/ 0 w 878205"/>
                      <a:gd name="connsiteY4" fmla="*/ 114871 h 139827"/>
                      <a:gd name="connsiteX5" fmla="*/ 0 w 878205"/>
                      <a:gd name="connsiteY5" fmla="*/ 139827 h 139827"/>
                      <a:gd name="connsiteX6" fmla="*/ 134874 w 878205"/>
                      <a:gd name="connsiteY6" fmla="*/ 9525 h 139827"/>
                      <a:gd name="connsiteX7" fmla="*/ 878205 w 878205"/>
                      <a:gd name="connsiteY7" fmla="*/ 9525 h 139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205" h="139827">
                        <a:moveTo>
                          <a:pt x="878205" y="0"/>
                        </a:moveTo>
                        <a:lnTo>
                          <a:pt x="144780" y="0"/>
                        </a:lnTo>
                        <a:lnTo>
                          <a:pt x="126873" y="0"/>
                        </a:lnTo>
                        <a:lnTo>
                          <a:pt x="119825" y="0"/>
                        </a:lnTo>
                        <a:lnTo>
                          <a:pt x="0" y="114871"/>
                        </a:lnTo>
                        <a:lnTo>
                          <a:pt x="0" y="139827"/>
                        </a:lnTo>
                        <a:lnTo>
                          <a:pt x="134874" y="9525"/>
                        </a:lnTo>
                        <a:lnTo>
                          <a:pt x="878205" y="9525"/>
                        </a:lnTo>
                        <a:close/>
                      </a:path>
                    </a:pathLst>
                  </a:custGeom>
                  <a:grpFill/>
                  <a:ln w="9525" cap="flat">
                    <a:noFill/>
                    <a:prstDash val="solid"/>
                    <a:miter/>
                  </a:ln>
                </p:spPr>
                <p:txBody>
                  <a:bodyPr rtlCol="0" anchor="ctr"/>
                  <a:lstStyle/>
                  <a:p>
                    <a:endParaRPr lang="zh-CN" altLang="en-US"/>
                  </a:p>
                </p:txBody>
              </p:sp>
            </p:grpSp>
          </p:grpSp>
          <p:sp>
            <p:nvSpPr>
              <p:cNvPr id="126" name="任意多边形: 形状 125"/>
              <p:cNvSpPr/>
              <p:nvPr/>
            </p:nvSpPr>
            <p:spPr>
              <a:xfrm>
                <a:off x="4601165" y="1207169"/>
                <a:ext cx="6485790" cy="2777290"/>
              </a:xfrm>
              <a:custGeom>
                <a:avLst/>
                <a:gdLst>
                  <a:gd name="connsiteX0" fmla="*/ 3505200 w 3781425"/>
                  <a:gd name="connsiteY0" fmla="*/ 0 h 1619250"/>
                  <a:gd name="connsiteX1" fmla="*/ 3124200 w 3781425"/>
                  <a:gd name="connsiteY1" fmla="*/ 0 h 1619250"/>
                  <a:gd name="connsiteX2" fmla="*/ 3019425 w 3781425"/>
                  <a:gd name="connsiteY2" fmla="*/ 0 h 1619250"/>
                  <a:gd name="connsiteX3" fmla="*/ 3009900 w 3781425"/>
                  <a:gd name="connsiteY3" fmla="*/ 0 h 1619250"/>
                  <a:gd name="connsiteX4" fmla="*/ 2830259 w 3781425"/>
                  <a:gd name="connsiteY4" fmla="*/ 171450 h 1619250"/>
                  <a:gd name="connsiteX5" fmla="*/ 1779651 w 3781425"/>
                  <a:gd name="connsiteY5" fmla="*/ 171450 h 1619250"/>
                  <a:gd name="connsiteX6" fmla="*/ 1619250 w 3781425"/>
                  <a:gd name="connsiteY6" fmla="*/ 19050 h 1619250"/>
                  <a:gd name="connsiteX7" fmla="*/ 1609725 w 3781425"/>
                  <a:gd name="connsiteY7" fmla="*/ 19050 h 1619250"/>
                  <a:gd name="connsiteX8" fmla="*/ 1543050 w 3781425"/>
                  <a:gd name="connsiteY8" fmla="*/ 19050 h 1619250"/>
                  <a:gd name="connsiteX9" fmla="*/ 47149 w 3781425"/>
                  <a:gd name="connsiteY9" fmla="*/ 19050 h 1619250"/>
                  <a:gd name="connsiteX10" fmla="*/ 23813 w 3781425"/>
                  <a:gd name="connsiteY10" fmla="*/ 0 h 1619250"/>
                  <a:gd name="connsiteX11" fmla="*/ 0 w 3781425"/>
                  <a:gd name="connsiteY11" fmla="*/ 23813 h 1619250"/>
                  <a:gd name="connsiteX12" fmla="*/ 23813 w 3781425"/>
                  <a:gd name="connsiteY12" fmla="*/ 47625 h 1619250"/>
                  <a:gd name="connsiteX13" fmla="*/ 47149 w 3781425"/>
                  <a:gd name="connsiteY13" fmla="*/ 28575 h 1619250"/>
                  <a:gd name="connsiteX14" fmla="*/ 1553051 w 3781425"/>
                  <a:gd name="connsiteY14" fmla="*/ 28575 h 1619250"/>
                  <a:gd name="connsiteX15" fmla="*/ 1733550 w 3781425"/>
                  <a:gd name="connsiteY15" fmla="*/ 200025 h 1619250"/>
                  <a:gd name="connsiteX16" fmla="*/ 1743075 w 3781425"/>
                  <a:gd name="connsiteY16" fmla="*/ 200025 h 1619250"/>
                  <a:gd name="connsiteX17" fmla="*/ 1809750 w 3781425"/>
                  <a:gd name="connsiteY17" fmla="*/ 200025 h 1619250"/>
                  <a:gd name="connsiteX18" fmla="*/ 2800350 w 3781425"/>
                  <a:gd name="connsiteY18" fmla="*/ 200025 h 1619250"/>
                  <a:gd name="connsiteX19" fmla="*/ 2867025 w 3781425"/>
                  <a:gd name="connsiteY19" fmla="*/ 200025 h 1619250"/>
                  <a:gd name="connsiteX20" fmla="*/ 2914650 w 3781425"/>
                  <a:gd name="connsiteY20" fmla="*/ 200025 h 1619250"/>
                  <a:gd name="connsiteX21" fmla="*/ 3074289 w 3781425"/>
                  <a:gd name="connsiteY21" fmla="*/ 47625 h 1619250"/>
                  <a:gd name="connsiteX22" fmla="*/ 3438525 w 3781425"/>
                  <a:gd name="connsiteY22" fmla="*/ 47625 h 1619250"/>
                  <a:gd name="connsiteX23" fmla="*/ 3733800 w 3781425"/>
                  <a:gd name="connsiteY23" fmla="*/ 334709 h 1619250"/>
                  <a:gd name="connsiteX24" fmla="*/ 3733800 w 3781425"/>
                  <a:gd name="connsiteY24" fmla="*/ 1619250 h 1619250"/>
                  <a:gd name="connsiteX25" fmla="*/ 3781425 w 3781425"/>
                  <a:gd name="connsiteY25" fmla="*/ 1619250 h 1619250"/>
                  <a:gd name="connsiteX26" fmla="*/ 3781425 w 3781425"/>
                  <a:gd name="connsiteY26" fmla="*/ 381000 h 1619250"/>
                  <a:gd name="connsiteX27" fmla="*/ 3781425 w 3781425"/>
                  <a:gd name="connsiteY27" fmla="*/ 285750 h 1619250"/>
                  <a:gd name="connsiteX28" fmla="*/ 3781425 w 3781425"/>
                  <a:gd name="connsiteY28" fmla="*/ 266700 h 1619250"/>
                  <a:gd name="connsiteX29" fmla="*/ 3505200 w 3781425"/>
                  <a:gd name="connsiteY29" fmla="*/ 0 h 161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781425" h="1619250">
                    <a:moveTo>
                      <a:pt x="3505200" y="0"/>
                    </a:moveTo>
                    <a:lnTo>
                      <a:pt x="3124200" y="0"/>
                    </a:lnTo>
                    <a:lnTo>
                      <a:pt x="3019425" y="0"/>
                    </a:lnTo>
                    <a:lnTo>
                      <a:pt x="3009900" y="0"/>
                    </a:lnTo>
                    <a:lnTo>
                      <a:pt x="2830259" y="171450"/>
                    </a:lnTo>
                    <a:lnTo>
                      <a:pt x="1779651" y="171450"/>
                    </a:lnTo>
                    <a:lnTo>
                      <a:pt x="1619250" y="19050"/>
                    </a:lnTo>
                    <a:lnTo>
                      <a:pt x="1609725" y="19050"/>
                    </a:lnTo>
                    <a:lnTo>
                      <a:pt x="1543050" y="19050"/>
                    </a:lnTo>
                    <a:lnTo>
                      <a:pt x="47149" y="19050"/>
                    </a:lnTo>
                    <a:cubicBezTo>
                      <a:pt x="44958" y="8192"/>
                      <a:pt x="35338" y="0"/>
                      <a:pt x="23813" y="0"/>
                    </a:cubicBezTo>
                    <a:cubicBezTo>
                      <a:pt x="10668" y="0"/>
                      <a:pt x="0" y="10668"/>
                      <a:pt x="0" y="23813"/>
                    </a:cubicBezTo>
                    <a:cubicBezTo>
                      <a:pt x="0" y="36957"/>
                      <a:pt x="10668" y="47625"/>
                      <a:pt x="23813" y="47625"/>
                    </a:cubicBezTo>
                    <a:cubicBezTo>
                      <a:pt x="35338" y="47625"/>
                      <a:pt x="44958" y="39434"/>
                      <a:pt x="47149" y="28575"/>
                    </a:cubicBezTo>
                    <a:lnTo>
                      <a:pt x="1553051" y="28575"/>
                    </a:lnTo>
                    <a:lnTo>
                      <a:pt x="1733550" y="200025"/>
                    </a:lnTo>
                    <a:lnTo>
                      <a:pt x="1743075" y="200025"/>
                    </a:lnTo>
                    <a:lnTo>
                      <a:pt x="1809750" y="200025"/>
                    </a:lnTo>
                    <a:lnTo>
                      <a:pt x="2800350" y="200025"/>
                    </a:lnTo>
                    <a:lnTo>
                      <a:pt x="2867025" y="200025"/>
                    </a:lnTo>
                    <a:lnTo>
                      <a:pt x="2914650" y="200025"/>
                    </a:lnTo>
                    <a:lnTo>
                      <a:pt x="3074289" y="47625"/>
                    </a:lnTo>
                    <a:lnTo>
                      <a:pt x="3438525" y="47625"/>
                    </a:lnTo>
                    <a:lnTo>
                      <a:pt x="3733800" y="334709"/>
                    </a:lnTo>
                    <a:lnTo>
                      <a:pt x="3733800" y="1619250"/>
                    </a:lnTo>
                    <a:lnTo>
                      <a:pt x="3781425" y="1619250"/>
                    </a:lnTo>
                    <a:lnTo>
                      <a:pt x="3781425" y="381000"/>
                    </a:lnTo>
                    <a:lnTo>
                      <a:pt x="3781425" y="285750"/>
                    </a:lnTo>
                    <a:lnTo>
                      <a:pt x="3781425" y="266700"/>
                    </a:lnTo>
                    <a:lnTo>
                      <a:pt x="3505200" y="0"/>
                    </a:lnTo>
                    <a:close/>
                  </a:path>
                </a:pathLst>
              </a:custGeom>
              <a:gradFill flip="none" rotWithShape="1">
                <a:gsLst>
                  <a:gs pos="30000">
                    <a:schemeClr val="accent2">
                      <a:lumMod val="40000"/>
                      <a:lumOff val="60000"/>
                    </a:schemeClr>
                  </a:gs>
                  <a:gs pos="100000">
                    <a:schemeClr val="accent2"/>
                  </a:gs>
                </a:gsLst>
                <a:lin ang="16200000" scaled="1"/>
                <a:tileRect/>
              </a:gradFill>
              <a:ln w="9525" cap="flat">
                <a:noFill/>
                <a:prstDash val="solid"/>
                <a:miter/>
              </a:ln>
            </p:spPr>
            <p:txBody>
              <a:bodyPr rtlCol="0" anchor="ctr"/>
              <a:lstStyle/>
              <a:p>
                <a:endParaRPr lang="zh-CN" altLang="en-US"/>
              </a:p>
            </p:txBody>
          </p:sp>
          <p:sp>
            <p:nvSpPr>
              <p:cNvPr id="127" name="任意多边形: 形状 126"/>
              <p:cNvSpPr/>
              <p:nvPr/>
            </p:nvSpPr>
            <p:spPr>
              <a:xfrm>
                <a:off x="4878894" y="1321528"/>
                <a:ext cx="686154" cy="196044"/>
              </a:xfrm>
              <a:custGeom>
                <a:avLst/>
                <a:gdLst>
                  <a:gd name="connsiteX0" fmla="*/ 285750 w 400050"/>
                  <a:gd name="connsiteY0" fmla="*/ 0 h 114300"/>
                  <a:gd name="connsiteX1" fmla="*/ 0 w 400050"/>
                  <a:gd name="connsiteY1" fmla="*/ 0 h 114300"/>
                  <a:gd name="connsiteX2" fmla="*/ 114300 w 400050"/>
                  <a:gd name="connsiteY2" fmla="*/ 114300 h 114300"/>
                  <a:gd name="connsiteX3" fmla="*/ 400050 w 400050"/>
                  <a:gd name="connsiteY3" fmla="*/ 114300 h 114300"/>
                  <a:gd name="connsiteX4" fmla="*/ 285750 w 400050"/>
                  <a:gd name="connsiteY4" fmla="*/ 0 h 114300"/>
                  <a:gd name="connsiteX5" fmla="*/ 28575 w 400050"/>
                  <a:gd name="connsiteY5" fmla="*/ 9525 h 114300"/>
                  <a:gd name="connsiteX6" fmla="*/ 276225 w 400050"/>
                  <a:gd name="connsiteY6" fmla="*/ 9525 h 114300"/>
                  <a:gd name="connsiteX7" fmla="*/ 371475 w 400050"/>
                  <a:gd name="connsiteY7" fmla="*/ 104775 h 114300"/>
                  <a:gd name="connsiteX8" fmla="*/ 123825 w 400050"/>
                  <a:gd name="connsiteY8" fmla="*/ 104775 h 114300"/>
                  <a:gd name="connsiteX9" fmla="*/ 28575 w 400050"/>
                  <a:gd name="connsiteY9" fmla="*/ 9525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0050" h="114300">
                    <a:moveTo>
                      <a:pt x="285750" y="0"/>
                    </a:moveTo>
                    <a:lnTo>
                      <a:pt x="0" y="0"/>
                    </a:lnTo>
                    <a:lnTo>
                      <a:pt x="114300" y="114300"/>
                    </a:lnTo>
                    <a:lnTo>
                      <a:pt x="400050" y="114300"/>
                    </a:lnTo>
                    <a:lnTo>
                      <a:pt x="285750" y="0"/>
                    </a:lnTo>
                    <a:close/>
                    <a:moveTo>
                      <a:pt x="28575" y="9525"/>
                    </a:moveTo>
                    <a:lnTo>
                      <a:pt x="276225" y="9525"/>
                    </a:lnTo>
                    <a:lnTo>
                      <a:pt x="371475" y="104775"/>
                    </a:lnTo>
                    <a:lnTo>
                      <a:pt x="123825" y="104775"/>
                    </a:lnTo>
                    <a:lnTo>
                      <a:pt x="28575" y="9525"/>
                    </a:lnTo>
                    <a:close/>
                  </a:path>
                </a:pathLst>
              </a:custGeom>
              <a:solidFill>
                <a:schemeClr val="accent2"/>
              </a:solidFill>
              <a:ln w="9525" cap="flat">
                <a:noFill/>
                <a:prstDash val="solid"/>
                <a:miter/>
              </a:ln>
            </p:spPr>
            <p:txBody>
              <a:bodyPr rtlCol="0" anchor="ctr"/>
              <a:lstStyle/>
              <a:p>
                <a:endParaRPr lang="zh-CN" altLang="en-US"/>
              </a:p>
            </p:txBody>
          </p:sp>
          <p:grpSp>
            <p:nvGrpSpPr>
              <p:cNvPr id="128" name="组合 127"/>
              <p:cNvGrpSpPr/>
              <p:nvPr/>
            </p:nvGrpSpPr>
            <p:grpSpPr>
              <a:xfrm>
                <a:off x="5989810" y="1321528"/>
                <a:ext cx="1437656" cy="196044"/>
                <a:chOff x="5989810" y="1321528"/>
                <a:chExt cx="1437656" cy="196044"/>
              </a:xfrm>
              <a:gradFill flip="none" rotWithShape="1">
                <a:gsLst>
                  <a:gs pos="0">
                    <a:schemeClr val="accent2"/>
                  </a:gs>
                  <a:gs pos="100000">
                    <a:schemeClr val="accent1">
                      <a:alpha val="0"/>
                    </a:schemeClr>
                  </a:gs>
                </a:gsLst>
                <a:lin ang="0" scaled="1"/>
                <a:tileRect/>
              </a:gradFill>
            </p:grpSpPr>
            <p:sp>
              <p:nvSpPr>
                <p:cNvPr id="148" name="任意多边形: 形状 147"/>
                <p:cNvSpPr/>
                <p:nvPr/>
              </p:nvSpPr>
              <p:spPr>
                <a:xfrm>
                  <a:off x="7133400" y="1321528"/>
                  <a:ext cx="294066" cy="196044"/>
                </a:xfrm>
                <a:custGeom>
                  <a:avLst/>
                  <a:gdLst>
                    <a:gd name="connsiteX0" fmla="*/ 57150 w 171450"/>
                    <a:gd name="connsiteY0" fmla="*/ 0 h 114300"/>
                    <a:gd name="connsiteX1" fmla="*/ 0 w 171450"/>
                    <a:gd name="connsiteY1" fmla="*/ 0 h 114300"/>
                    <a:gd name="connsiteX2" fmla="*/ 114300 w 171450"/>
                    <a:gd name="connsiteY2" fmla="*/ 114300 h 114300"/>
                    <a:gd name="connsiteX3" fmla="*/ 171450 w 171450"/>
                    <a:gd name="connsiteY3" fmla="*/ 114300 h 114300"/>
                  </a:gdLst>
                  <a:ahLst/>
                  <a:cxnLst>
                    <a:cxn ang="0">
                      <a:pos x="connsiteX0" y="connsiteY0"/>
                    </a:cxn>
                    <a:cxn ang="0">
                      <a:pos x="connsiteX1" y="connsiteY1"/>
                    </a:cxn>
                    <a:cxn ang="0">
                      <a:pos x="connsiteX2" y="connsiteY2"/>
                    </a:cxn>
                    <a:cxn ang="0">
                      <a:pos x="connsiteX3" y="connsiteY3"/>
                    </a:cxn>
                  </a:cxnLst>
                  <a:rect l="l" t="t" r="r" b="b"/>
                  <a:pathLst>
                    <a:path w="171450" h="114300">
                      <a:moveTo>
                        <a:pt x="57150" y="0"/>
                      </a:moveTo>
                      <a:lnTo>
                        <a:pt x="0" y="0"/>
                      </a:lnTo>
                      <a:lnTo>
                        <a:pt x="114300" y="114300"/>
                      </a:lnTo>
                      <a:lnTo>
                        <a:pt x="171450" y="114300"/>
                      </a:lnTo>
                      <a:close/>
                    </a:path>
                  </a:pathLst>
                </a:custGeom>
                <a:grpFill/>
                <a:ln w="9525" cap="flat">
                  <a:noFill/>
                  <a:prstDash val="solid"/>
                  <a:miter/>
                </a:ln>
              </p:spPr>
              <p:txBody>
                <a:bodyPr rtlCol="0" anchor="ctr"/>
                <a:lstStyle/>
                <a:p>
                  <a:endParaRPr lang="zh-CN" altLang="en-US"/>
                </a:p>
              </p:txBody>
            </p:sp>
            <p:sp>
              <p:nvSpPr>
                <p:cNvPr id="149" name="任意多边形: 形状 148"/>
                <p:cNvSpPr/>
                <p:nvPr/>
              </p:nvSpPr>
              <p:spPr>
                <a:xfrm>
                  <a:off x="6970030" y="1321528"/>
                  <a:ext cx="294066" cy="196044"/>
                </a:xfrm>
                <a:custGeom>
                  <a:avLst/>
                  <a:gdLst>
                    <a:gd name="connsiteX0" fmla="*/ 0 w 171450"/>
                    <a:gd name="connsiteY0" fmla="*/ 0 h 114300"/>
                    <a:gd name="connsiteX1" fmla="*/ 114300 w 171450"/>
                    <a:gd name="connsiteY1" fmla="*/ 114300 h 114300"/>
                    <a:gd name="connsiteX2" fmla="*/ 171450 w 171450"/>
                    <a:gd name="connsiteY2" fmla="*/ 114300 h 114300"/>
                    <a:gd name="connsiteX3" fmla="*/ 57150 w 171450"/>
                    <a:gd name="connsiteY3" fmla="*/ 0 h 114300"/>
                  </a:gdLst>
                  <a:ahLst/>
                  <a:cxnLst>
                    <a:cxn ang="0">
                      <a:pos x="connsiteX0" y="connsiteY0"/>
                    </a:cxn>
                    <a:cxn ang="0">
                      <a:pos x="connsiteX1" y="connsiteY1"/>
                    </a:cxn>
                    <a:cxn ang="0">
                      <a:pos x="connsiteX2" y="connsiteY2"/>
                    </a:cxn>
                    <a:cxn ang="0">
                      <a:pos x="connsiteX3" y="connsiteY3"/>
                    </a:cxn>
                  </a:cxnLst>
                  <a:rect l="l" t="t" r="r" b="b"/>
                  <a:pathLst>
                    <a:path w="171450" h="114300">
                      <a:moveTo>
                        <a:pt x="0" y="0"/>
                      </a:moveTo>
                      <a:lnTo>
                        <a:pt x="114300" y="114300"/>
                      </a:lnTo>
                      <a:lnTo>
                        <a:pt x="171450" y="114300"/>
                      </a:lnTo>
                      <a:lnTo>
                        <a:pt x="57150" y="0"/>
                      </a:lnTo>
                      <a:close/>
                    </a:path>
                  </a:pathLst>
                </a:custGeom>
                <a:grpFill/>
                <a:ln w="9525" cap="flat">
                  <a:noFill/>
                  <a:prstDash val="solid"/>
                  <a:miter/>
                </a:ln>
              </p:spPr>
              <p:txBody>
                <a:bodyPr rtlCol="0" anchor="ctr"/>
                <a:lstStyle/>
                <a:p>
                  <a:endParaRPr lang="zh-CN" altLang="en-US"/>
                </a:p>
              </p:txBody>
            </p:sp>
            <p:sp>
              <p:nvSpPr>
                <p:cNvPr id="150" name="任意多边形: 形状 149"/>
                <p:cNvSpPr/>
                <p:nvPr/>
              </p:nvSpPr>
              <p:spPr>
                <a:xfrm>
                  <a:off x="6806660" y="1321528"/>
                  <a:ext cx="294066" cy="196044"/>
                </a:xfrm>
                <a:custGeom>
                  <a:avLst/>
                  <a:gdLst>
                    <a:gd name="connsiteX0" fmla="*/ 0 w 171450"/>
                    <a:gd name="connsiteY0" fmla="*/ 0 h 114300"/>
                    <a:gd name="connsiteX1" fmla="*/ 114300 w 171450"/>
                    <a:gd name="connsiteY1" fmla="*/ 114300 h 114300"/>
                    <a:gd name="connsiteX2" fmla="*/ 171450 w 171450"/>
                    <a:gd name="connsiteY2" fmla="*/ 114300 h 114300"/>
                    <a:gd name="connsiteX3" fmla="*/ 57150 w 171450"/>
                    <a:gd name="connsiteY3" fmla="*/ 0 h 114300"/>
                  </a:gdLst>
                  <a:ahLst/>
                  <a:cxnLst>
                    <a:cxn ang="0">
                      <a:pos x="connsiteX0" y="connsiteY0"/>
                    </a:cxn>
                    <a:cxn ang="0">
                      <a:pos x="connsiteX1" y="connsiteY1"/>
                    </a:cxn>
                    <a:cxn ang="0">
                      <a:pos x="connsiteX2" y="connsiteY2"/>
                    </a:cxn>
                    <a:cxn ang="0">
                      <a:pos x="connsiteX3" y="connsiteY3"/>
                    </a:cxn>
                  </a:cxnLst>
                  <a:rect l="l" t="t" r="r" b="b"/>
                  <a:pathLst>
                    <a:path w="171450" h="114300">
                      <a:moveTo>
                        <a:pt x="0" y="0"/>
                      </a:moveTo>
                      <a:lnTo>
                        <a:pt x="114300" y="114300"/>
                      </a:lnTo>
                      <a:lnTo>
                        <a:pt x="171450" y="114300"/>
                      </a:lnTo>
                      <a:lnTo>
                        <a:pt x="57150" y="0"/>
                      </a:lnTo>
                      <a:close/>
                    </a:path>
                  </a:pathLst>
                </a:custGeom>
                <a:grpFill/>
                <a:ln w="9525" cap="flat">
                  <a:noFill/>
                  <a:prstDash val="solid"/>
                  <a:miter/>
                </a:ln>
              </p:spPr>
              <p:txBody>
                <a:bodyPr rtlCol="0" anchor="ctr"/>
                <a:lstStyle/>
                <a:p>
                  <a:endParaRPr lang="zh-CN" altLang="en-US"/>
                </a:p>
              </p:txBody>
            </p:sp>
            <p:sp>
              <p:nvSpPr>
                <p:cNvPr id="151" name="任意多边形: 形状 150"/>
                <p:cNvSpPr/>
                <p:nvPr/>
              </p:nvSpPr>
              <p:spPr>
                <a:xfrm>
                  <a:off x="6643290" y="1321528"/>
                  <a:ext cx="294066" cy="196044"/>
                </a:xfrm>
                <a:custGeom>
                  <a:avLst/>
                  <a:gdLst>
                    <a:gd name="connsiteX0" fmla="*/ 0 w 171450"/>
                    <a:gd name="connsiteY0" fmla="*/ 0 h 114300"/>
                    <a:gd name="connsiteX1" fmla="*/ 114300 w 171450"/>
                    <a:gd name="connsiteY1" fmla="*/ 114300 h 114300"/>
                    <a:gd name="connsiteX2" fmla="*/ 171450 w 171450"/>
                    <a:gd name="connsiteY2" fmla="*/ 114300 h 114300"/>
                    <a:gd name="connsiteX3" fmla="*/ 57150 w 171450"/>
                    <a:gd name="connsiteY3" fmla="*/ 0 h 114300"/>
                  </a:gdLst>
                  <a:ahLst/>
                  <a:cxnLst>
                    <a:cxn ang="0">
                      <a:pos x="connsiteX0" y="connsiteY0"/>
                    </a:cxn>
                    <a:cxn ang="0">
                      <a:pos x="connsiteX1" y="connsiteY1"/>
                    </a:cxn>
                    <a:cxn ang="0">
                      <a:pos x="connsiteX2" y="connsiteY2"/>
                    </a:cxn>
                    <a:cxn ang="0">
                      <a:pos x="connsiteX3" y="connsiteY3"/>
                    </a:cxn>
                  </a:cxnLst>
                  <a:rect l="l" t="t" r="r" b="b"/>
                  <a:pathLst>
                    <a:path w="171450" h="114300">
                      <a:moveTo>
                        <a:pt x="0" y="0"/>
                      </a:moveTo>
                      <a:lnTo>
                        <a:pt x="114300" y="114300"/>
                      </a:lnTo>
                      <a:lnTo>
                        <a:pt x="171450" y="114300"/>
                      </a:lnTo>
                      <a:lnTo>
                        <a:pt x="57150" y="0"/>
                      </a:lnTo>
                      <a:close/>
                    </a:path>
                  </a:pathLst>
                </a:custGeom>
                <a:grpFill/>
                <a:ln w="9525" cap="flat">
                  <a:noFill/>
                  <a:prstDash val="solid"/>
                  <a:miter/>
                </a:ln>
              </p:spPr>
              <p:txBody>
                <a:bodyPr rtlCol="0" anchor="ctr"/>
                <a:lstStyle/>
                <a:p>
                  <a:endParaRPr lang="zh-CN" altLang="en-US"/>
                </a:p>
              </p:txBody>
            </p:sp>
            <p:sp>
              <p:nvSpPr>
                <p:cNvPr id="152" name="任意多边形: 形状 151"/>
                <p:cNvSpPr/>
                <p:nvPr/>
              </p:nvSpPr>
              <p:spPr>
                <a:xfrm>
                  <a:off x="6479920" y="1321528"/>
                  <a:ext cx="294066" cy="196044"/>
                </a:xfrm>
                <a:custGeom>
                  <a:avLst/>
                  <a:gdLst>
                    <a:gd name="connsiteX0" fmla="*/ 0 w 171450"/>
                    <a:gd name="connsiteY0" fmla="*/ 0 h 114300"/>
                    <a:gd name="connsiteX1" fmla="*/ 114300 w 171450"/>
                    <a:gd name="connsiteY1" fmla="*/ 114300 h 114300"/>
                    <a:gd name="connsiteX2" fmla="*/ 171450 w 171450"/>
                    <a:gd name="connsiteY2" fmla="*/ 114300 h 114300"/>
                    <a:gd name="connsiteX3" fmla="*/ 57150 w 171450"/>
                    <a:gd name="connsiteY3" fmla="*/ 0 h 114300"/>
                  </a:gdLst>
                  <a:ahLst/>
                  <a:cxnLst>
                    <a:cxn ang="0">
                      <a:pos x="connsiteX0" y="connsiteY0"/>
                    </a:cxn>
                    <a:cxn ang="0">
                      <a:pos x="connsiteX1" y="connsiteY1"/>
                    </a:cxn>
                    <a:cxn ang="0">
                      <a:pos x="connsiteX2" y="connsiteY2"/>
                    </a:cxn>
                    <a:cxn ang="0">
                      <a:pos x="connsiteX3" y="connsiteY3"/>
                    </a:cxn>
                  </a:cxnLst>
                  <a:rect l="l" t="t" r="r" b="b"/>
                  <a:pathLst>
                    <a:path w="171450" h="114300">
                      <a:moveTo>
                        <a:pt x="0" y="0"/>
                      </a:moveTo>
                      <a:lnTo>
                        <a:pt x="114300" y="114300"/>
                      </a:lnTo>
                      <a:lnTo>
                        <a:pt x="171450" y="114300"/>
                      </a:lnTo>
                      <a:lnTo>
                        <a:pt x="57150" y="0"/>
                      </a:lnTo>
                      <a:close/>
                    </a:path>
                  </a:pathLst>
                </a:custGeom>
                <a:grpFill/>
                <a:ln w="9525" cap="flat">
                  <a:noFill/>
                  <a:prstDash val="solid"/>
                  <a:miter/>
                </a:ln>
              </p:spPr>
              <p:txBody>
                <a:bodyPr rtlCol="0" anchor="ctr"/>
                <a:lstStyle/>
                <a:p>
                  <a:endParaRPr lang="zh-CN" altLang="en-US"/>
                </a:p>
              </p:txBody>
            </p:sp>
            <p:sp>
              <p:nvSpPr>
                <p:cNvPr id="153" name="任意多边形: 形状 152"/>
                <p:cNvSpPr/>
                <p:nvPr/>
              </p:nvSpPr>
              <p:spPr>
                <a:xfrm>
                  <a:off x="6316550" y="1321528"/>
                  <a:ext cx="294066" cy="196044"/>
                </a:xfrm>
                <a:custGeom>
                  <a:avLst/>
                  <a:gdLst>
                    <a:gd name="connsiteX0" fmla="*/ 0 w 171450"/>
                    <a:gd name="connsiteY0" fmla="*/ 0 h 114300"/>
                    <a:gd name="connsiteX1" fmla="*/ 114300 w 171450"/>
                    <a:gd name="connsiteY1" fmla="*/ 114300 h 114300"/>
                    <a:gd name="connsiteX2" fmla="*/ 171450 w 171450"/>
                    <a:gd name="connsiteY2" fmla="*/ 114300 h 114300"/>
                    <a:gd name="connsiteX3" fmla="*/ 57150 w 171450"/>
                    <a:gd name="connsiteY3" fmla="*/ 0 h 114300"/>
                  </a:gdLst>
                  <a:ahLst/>
                  <a:cxnLst>
                    <a:cxn ang="0">
                      <a:pos x="connsiteX0" y="connsiteY0"/>
                    </a:cxn>
                    <a:cxn ang="0">
                      <a:pos x="connsiteX1" y="connsiteY1"/>
                    </a:cxn>
                    <a:cxn ang="0">
                      <a:pos x="connsiteX2" y="connsiteY2"/>
                    </a:cxn>
                    <a:cxn ang="0">
                      <a:pos x="connsiteX3" y="connsiteY3"/>
                    </a:cxn>
                  </a:cxnLst>
                  <a:rect l="l" t="t" r="r" b="b"/>
                  <a:pathLst>
                    <a:path w="171450" h="114300">
                      <a:moveTo>
                        <a:pt x="0" y="0"/>
                      </a:moveTo>
                      <a:lnTo>
                        <a:pt x="114300" y="114300"/>
                      </a:lnTo>
                      <a:lnTo>
                        <a:pt x="171450" y="114300"/>
                      </a:lnTo>
                      <a:lnTo>
                        <a:pt x="57150" y="0"/>
                      </a:lnTo>
                      <a:close/>
                    </a:path>
                  </a:pathLst>
                </a:custGeom>
                <a:grpFill/>
                <a:ln w="9525" cap="flat">
                  <a:noFill/>
                  <a:prstDash val="solid"/>
                  <a:miter/>
                </a:ln>
              </p:spPr>
              <p:txBody>
                <a:bodyPr rtlCol="0" anchor="ctr"/>
                <a:lstStyle/>
                <a:p>
                  <a:endParaRPr lang="zh-CN" altLang="en-US"/>
                </a:p>
              </p:txBody>
            </p:sp>
            <p:sp>
              <p:nvSpPr>
                <p:cNvPr id="154" name="任意多边形: 形状 153"/>
                <p:cNvSpPr/>
                <p:nvPr/>
              </p:nvSpPr>
              <p:spPr>
                <a:xfrm>
                  <a:off x="6153180" y="1321528"/>
                  <a:ext cx="294066" cy="196044"/>
                </a:xfrm>
                <a:custGeom>
                  <a:avLst/>
                  <a:gdLst>
                    <a:gd name="connsiteX0" fmla="*/ 0 w 171450"/>
                    <a:gd name="connsiteY0" fmla="*/ 0 h 114300"/>
                    <a:gd name="connsiteX1" fmla="*/ 114300 w 171450"/>
                    <a:gd name="connsiteY1" fmla="*/ 114300 h 114300"/>
                    <a:gd name="connsiteX2" fmla="*/ 171450 w 171450"/>
                    <a:gd name="connsiteY2" fmla="*/ 114300 h 114300"/>
                    <a:gd name="connsiteX3" fmla="*/ 57150 w 171450"/>
                    <a:gd name="connsiteY3" fmla="*/ 0 h 114300"/>
                  </a:gdLst>
                  <a:ahLst/>
                  <a:cxnLst>
                    <a:cxn ang="0">
                      <a:pos x="connsiteX0" y="connsiteY0"/>
                    </a:cxn>
                    <a:cxn ang="0">
                      <a:pos x="connsiteX1" y="connsiteY1"/>
                    </a:cxn>
                    <a:cxn ang="0">
                      <a:pos x="connsiteX2" y="connsiteY2"/>
                    </a:cxn>
                    <a:cxn ang="0">
                      <a:pos x="connsiteX3" y="connsiteY3"/>
                    </a:cxn>
                  </a:cxnLst>
                  <a:rect l="l" t="t" r="r" b="b"/>
                  <a:pathLst>
                    <a:path w="171450" h="114300">
                      <a:moveTo>
                        <a:pt x="0" y="0"/>
                      </a:moveTo>
                      <a:lnTo>
                        <a:pt x="114300" y="114300"/>
                      </a:lnTo>
                      <a:lnTo>
                        <a:pt x="171450" y="114300"/>
                      </a:lnTo>
                      <a:lnTo>
                        <a:pt x="57150" y="0"/>
                      </a:lnTo>
                      <a:close/>
                    </a:path>
                  </a:pathLst>
                </a:custGeom>
                <a:grpFill/>
                <a:ln w="9525" cap="flat">
                  <a:noFill/>
                  <a:prstDash val="solid"/>
                  <a:miter/>
                </a:ln>
              </p:spPr>
              <p:txBody>
                <a:bodyPr rtlCol="0" anchor="ctr"/>
                <a:lstStyle/>
                <a:p>
                  <a:endParaRPr lang="zh-CN" altLang="en-US"/>
                </a:p>
              </p:txBody>
            </p:sp>
            <p:sp>
              <p:nvSpPr>
                <p:cNvPr id="155" name="任意多边形: 形状 154"/>
                <p:cNvSpPr/>
                <p:nvPr/>
              </p:nvSpPr>
              <p:spPr>
                <a:xfrm>
                  <a:off x="5989810" y="1321528"/>
                  <a:ext cx="294066" cy="196044"/>
                </a:xfrm>
                <a:custGeom>
                  <a:avLst/>
                  <a:gdLst>
                    <a:gd name="connsiteX0" fmla="*/ 0 w 171450"/>
                    <a:gd name="connsiteY0" fmla="*/ 0 h 114300"/>
                    <a:gd name="connsiteX1" fmla="*/ 114300 w 171450"/>
                    <a:gd name="connsiteY1" fmla="*/ 114300 h 114300"/>
                    <a:gd name="connsiteX2" fmla="*/ 171450 w 171450"/>
                    <a:gd name="connsiteY2" fmla="*/ 114300 h 114300"/>
                    <a:gd name="connsiteX3" fmla="*/ 57150 w 171450"/>
                    <a:gd name="connsiteY3" fmla="*/ 0 h 114300"/>
                  </a:gdLst>
                  <a:ahLst/>
                  <a:cxnLst>
                    <a:cxn ang="0">
                      <a:pos x="connsiteX0" y="connsiteY0"/>
                    </a:cxn>
                    <a:cxn ang="0">
                      <a:pos x="connsiteX1" y="connsiteY1"/>
                    </a:cxn>
                    <a:cxn ang="0">
                      <a:pos x="connsiteX2" y="connsiteY2"/>
                    </a:cxn>
                    <a:cxn ang="0">
                      <a:pos x="connsiteX3" y="connsiteY3"/>
                    </a:cxn>
                  </a:cxnLst>
                  <a:rect l="l" t="t" r="r" b="b"/>
                  <a:pathLst>
                    <a:path w="171450" h="114300">
                      <a:moveTo>
                        <a:pt x="0" y="0"/>
                      </a:moveTo>
                      <a:lnTo>
                        <a:pt x="114300" y="114300"/>
                      </a:lnTo>
                      <a:lnTo>
                        <a:pt x="171450" y="114300"/>
                      </a:lnTo>
                      <a:lnTo>
                        <a:pt x="57150" y="0"/>
                      </a:lnTo>
                      <a:close/>
                    </a:path>
                  </a:pathLst>
                </a:custGeom>
                <a:grpFill/>
                <a:ln w="9525" cap="flat">
                  <a:noFill/>
                  <a:prstDash val="solid"/>
                  <a:miter/>
                </a:ln>
              </p:spPr>
              <p:txBody>
                <a:bodyPr rtlCol="0" anchor="ctr"/>
                <a:lstStyle/>
                <a:p>
                  <a:endParaRPr lang="zh-CN" altLang="en-US"/>
                </a:p>
              </p:txBody>
            </p:sp>
          </p:grpSp>
          <p:sp>
            <p:nvSpPr>
              <p:cNvPr id="129" name="任意多边形: 形状 128"/>
              <p:cNvSpPr/>
              <p:nvPr/>
            </p:nvSpPr>
            <p:spPr>
              <a:xfrm>
                <a:off x="5434352" y="1321528"/>
                <a:ext cx="686154" cy="196044"/>
              </a:xfrm>
              <a:custGeom>
                <a:avLst/>
                <a:gdLst>
                  <a:gd name="connsiteX0" fmla="*/ 400050 w 400050"/>
                  <a:gd name="connsiteY0" fmla="*/ 114300 h 114300"/>
                  <a:gd name="connsiteX1" fmla="*/ 114300 w 400050"/>
                  <a:gd name="connsiteY1" fmla="*/ 114300 h 114300"/>
                  <a:gd name="connsiteX2" fmla="*/ 0 w 400050"/>
                  <a:gd name="connsiteY2" fmla="*/ 0 h 114300"/>
                  <a:gd name="connsiteX3" fmla="*/ 285750 w 400050"/>
                  <a:gd name="connsiteY3" fmla="*/ 0 h 114300"/>
                </a:gdLst>
                <a:ahLst/>
                <a:cxnLst>
                  <a:cxn ang="0">
                    <a:pos x="connsiteX0" y="connsiteY0"/>
                  </a:cxn>
                  <a:cxn ang="0">
                    <a:pos x="connsiteX1" y="connsiteY1"/>
                  </a:cxn>
                  <a:cxn ang="0">
                    <a:pos x="connsiteX2" y="connsiteY2"/>
                  </a:cxn>
                  <a:cxn ang="0">
                    <a:pos x="connsiteX3" y="connsiteY3"/>
                  </a:cxn>
                </a:cxnLst>
                <a:rect l="l" t="t" r="r" b="b"/>
                <a:pathLst>
                  <a:path w="400050" h="114300">
                    <a:moveTo>
                      <a:pt x="400050" y="114300"/>
                    </a:moveTo>
                    <a:lnTo>
                      <a:pt x="114300" y="114300"/>
                    </a:lnTo>
                    <a:lnTo>
                      <a:pt x="0" y="0"/>
                    </a:lnTo>
                    <a:lnTo>
                      <a:pt x="285750" y="0"/>
                    </a:lnTo>
                    <a:close/>
                  </a:path>
                </a:pathLst>
              </a:custGeom>
              <a:solidFill>
                <a:schemeClr val="accent2"/>
              </a:solidFill>
              <a:ln w="9525" cap="flat">
                <a:noFill/>
                <a:prstDash val="solid"/>
                <a:miter/>
              </a:ln>
            </p:spPr>
            <p:txBody>
              <a:bodyPr rtlCol="0" anchor="ctr"/>
              <a:lstStyle/>
              <a:p>
                <a:endParaRPr lang="zh-CN" altLang="en-US"/>
              </a:p>
            </p:txBody>
          </p:sp>
          <p:grpSp>
            <p:nvGrpSpPr>
              <p:cNvPr id="130" name="组合 129"/>
              <p:cNvGrpSpPr/>
              <p:nvPr/>
            </p:nvGrpSpPr>
            <p:grpSpPr>
              <a:xfrm>
                <a:off x="7770543" y="1272517"/>
                <a:ext cx="1840363" cy="98022"/>
                <a:chOff x="7072312" y="2171700"/>
                <a:chExt cx="1072991" cy="57150"/>
              </a:xfrm>
              <a:gradFill flip="none" rotWithShape="1">
                <a:gsLst>
                  <a:gs pos="0">
                    <a:schemeClr val="accent3"/>
                  </a:gs>
                  <a:gs pos="100000">
                    <a:schemeClr val="accent3">
                      <a:alpha val="0"/>
                    </a:schemeClr>
                  </a:gs>
                </a:gsLst>
                <a:lin ang="10800000" scaled="1"/>
                <a:tileRect/>
              </a:gradFill>
            </p:grpSpPr>
            <p:sp>
              <p:nvSpPr>
                <p:cNvPr id="131" name="任意多边形: 形状 130"/>
                <p:cNvSpPr/>
                <p:nvPr/>
              </p:nvSpPr>
              <p:spPr>
                <a:xfrm>
                  <a:off x="7072312" y="2171700"/>
                  <a:ext cx="85725" cy="57150"/>
                </a:xfrm>
                <a:custGeom>
                  <a:avLst/>
                  <a:gdLst>
                    <a:gd name="connsiteX0" fmla="*/ 57150 w 85725"/>
                    <a:gd name="connsiteY0" fmla="*/ 0 h 57150"/>
                    <a:gd name="connsiteX1" fmla="*/ 0 w 85725"/>
                    <a:gd name="connsiteY1" fmla="*/ 57150 h 57150"/>
                    <a:gd name="connsiteX2" fmla="*/ 28575 w 85725"/>
                    <a:gd name="connsiteY2" fmla="*/ 57150 h 57150"/>
                    <a:gd name="connsiteX3" fmla="*/ 85725 w 85725"/>
                    <a:gd name="connsiteY3" fmla="*/ 0 h 57150"/>
                  </a:gdLst>
                  <a:ahLst/>
                  <a:cxnLst>
                    <a:cxn ang="0">
                      <a:pos x="connsiteX0" y="connsiteY0"/>
                    </a:cxn>
                    <a:cxn ang="0">
                      <a:pos x="connsiteX1" y="connsiteY1"/>
                    </a:cxn>
                    <a:cxn ang="0">
                      <a:pos x="connsiteX2" y="connsiteY2"/>
                    </a:cxn>
                    <a:cxn ang="0">
                      <a:pos x="connsiteX3" y="connsiteY3"/>
                    </a:cxn>
                  </a:cxnLst>
                  <a:rect l="l" t="t" r="r" b="b"/>
                  <a:pathLst>
                    <a:path w="85725" h="57150">
                      <a:moveTo>
                        <a:pt x="57150" y="0"/>
                      </a:moveTo>
                      <a:lnTo>
                        <a:pt x="0" y="57150"/>
                      </a:lnTo>
                      <a:lnTo>
                        <a:pt x="28575" y="57150"/>
                      </a:lnTo>
                      <a:lnTo>
                        <a:pt x="85725" y="0"/>
                      </a:lnTo>
                      <a:close/>
                    </a:path>
                  </a:pathLst>
                </a:custGeom>
                <a:grpFill/>
                <a:ln w="9525" cap="flat">
                  <a:noFill/>
                  <a:prstDash val="solid"/>
                  <a:miter/>
                </a:ln>
              </p:spPr>
              <p:txBody>
                <a:bodyPr rtlCol="0" anchor="ctr"/>
                <a:lstStyle/>
                <a:p>
                  <a:endParaRPr lang="zh-CN" altLang="en-US"/>
                </a:p>
              </p:txBody>
            </p:sp>
            <p:sp>
              <p:nvSpPr>
                <p:cNvPr id="132" name="任意多边形: 形状 131"/>
                <p:cNvSpPr/>
                <p:nvPr/>
              </p:nvSpPr>
              <p:spPr>
                <a:xfrm>
                  <a:off x="7134034" y="2171700"/>
                  <a:ext cx="85725" cy="57150"/>
                </a:xfrm>
                <a:custGeom>
                  <a:avLst/>
                  <a:gdLst>
                    <a:gd name="connsiteX0" fmla="*/ 57150 w 85725"/>
                    <a:gd name="connsiteY0" fmla="*/ 0 h 57150"/>
                    <a:gd name="connsiteX1" fmla="*/ 0 w 85725"/>
                    <a:gd name="connsiteY1" fmla="*/ 57150 h 57150"/>
                    <a:gd name="connsiteX2" fmla="*/ 28575 w 85725"/>
                    <a:gd name="connsiteY2" fmla="*/ 57150 h 57150"/>
                    <a:gd name="connsiteX3" fmla="*/ 85725 w 85725"/>
                    <a:gd name="connsiteY3" fmla="*/ 0 h 57150"/>
                  </a:gdLst>
                  <a:ahLst/>
                  <a:cxnLst>
                    <a:cxn ang="0">
                      <a:pos x="connsiteX0" y="connsiteY0"/>
                    </a:cxn>
                    <a:cxn ang="0">
                      <a:pos x="connsiteX1" y="connsiteY1"/>
                    </a:cxn>
                    <a:cxn ang="0">
                      <a:pos x="connsiteX2" y="connsiteY2"/>
                    </a:cxn>
                    <a:cxn ang="0">
                      <a:pos x="connsiteX3" y="connsiteY3"/>
                    </a:cxn>
                  </a:cxnLst>
                  <a:rect l="l" t="t" r="r" b="b"/>
                  <a:pathLst>
                    <a:path w="85725" h="57150">
                      <a:moveTo>
                        <a:pt x="57150" y="0"/>
                      </a:moveTo>
                      <a:lnTo>
                        <a:pt x="0" y="57150"/>
                      </a:lnTo>
                      <a:lnTo>
                        <a:pt x="28575" y="57150"/>
                      </a:lnTo>
                      <a:lnTo>
                        <a:pt x="85725" y="0"/>
                      </a:lnTo>
                      <a:close/>
                    </a:path>
                  </a:pathLst>
                </a:custGeom>
                <a:grpFill/>
                <a:ln w="9525" cap="flat">
                  <a:noFill/>
                  <a:prstDash val="solid"/>
                  <a:miter/>
                </a:ln>
              </p:spPr>
              <p:txBody>
                <a:bodyPr rtlCol="0" anchor="ctr"/>
                <a:lstStyle/>
                <a:p>
                  <a:endParaRPr lang="zh-CN" altLang="en-US"/>
                </a:p>
              </p:txBody>
            </p:sp>
            <p:sp>
              <p:nvSpPr>
                <p:cNvPr id="133" name="任意多边形: 形状 132"/>
                <p:cNvSpPr/>
                <p:nvPr/>
              </p:nvSpPr>
              <p:spPr>
                <a:xfrm>
                  <a:off x="7195755" y="2171700"/>
                  <a:ext cx="85725" cy="57150"/>
                </a:xfrm>
                <a:custGeom>
                  <a:avLst/>
                  <a:gdLst>
                    <a:gd name="connsiteX0" fmla="*/ 57150 w 85725"/>
                    <a:gd name="connsiteY0" fmla="*/ 0 h 57150"/>
                    <a:gd name="connsiteX1" fmla="*/ 0 w 85725"/>
                    <a:gd name="connsiteY1" fmla="*/ 57150 h 57150"/>
                    <a:gd name="connsiteX2" fmla="*/ 28575 w 85725"/>
                    <a:gd name="connsiteY2" fmla="*/ 57150 h 57150"/>
                    <a:gd name="connsiteX3" fmla="*/ 85725 w 85725"/>
                    <a:gd name="connsiteY3" fmla="*/ 0 h 57150"/>
                  </a:gdLst>
                  <a:ahLst/>
                  <a:cxnLst>
                    <a:cxn ang="0">
                      <a:pos x="connsiteX0" y="connsiteY0"/>
                    </a:cxn>
                    <a:cxn ang="0">
                      <a:pos x="connsiteX1" y="connsiteY1"/>
                    </a:cxn>
                    <a:cxn ang="0">
                      <a:pos x="connsiteX2" y="connsiteY2"/>
                    </a:cxn>
                    <a:cxn ang="0">
                      <a:pos x="connsiteX3" y="connsiteY3"/>
                    </a:cxn>
                  </a:cxnLst>
                  <a:rect l="l" t="t" r="r" b="b"/>
                  <a:pathLst>
                    <a:path w="85725" h="57150">
                      <a:moveTo>
                        <a:pt x="57150" y="0"/>
                      </a:moveTo>
                      <a:lnTo>
                        <a:pt x="0" y="57150"/>
                      </a:lnTo>
                      <a:lnTo>
                        <a:pt x="28575" y="57150"/>
                      </a:lnTo>
                      <a:lnTo>
                        <a:pt x="85725" y="0"/>
                      </a:lnTo>
                      <a:close/>
                    </a:path>
                  </a:pathLst>
                </a:custGeom>
                <a:grpFill/>
                <a:ln w="9525" cap="flat">
                  <a:noFill/>
                  <a:prstDash val="solid"/>
                  <a:miter/>
                </a:ln>
              </p:spPr>
              <p:txBody>
                <a:bodyPr rtlCol="0" anchor="ctr"/>
                <a:lstStyle/>
                <a:p>
                  <a:endParaRPr lang="zh-CN" altLang="en-US"/>
                </a:p>
              </p:txBody>
            </p:sp>
            <p:sp>
              <p:nvSpPr>
                <p:cNvPr id="134" name="任意多边形: 形状 133"/>
                <p:cNvSpPr/>
                <p:nvPr/>
              </p:nvSpPr>
              <p:spPr>
                <a:xfrm>
                  <a:off x="7257382" y="2171700"/>
                  <a:ext cx="85725" cy="57150"/>
                </a:xfrm>
                <a:custGeom>
                  <a:avLst/>
                  <a:gdLst>
                    <a:gd name="connsiteX0" fmla="*/ 57150 w 85725"/>
                    <a:gd name="connsiteY0" fmla="*/ 0 h 57150"/>
                    <a:gd name="connsiteX1" fmla="*/ 0 w 85725"/>
                    <a:gd name="connsiteY1" fmla="*/ 57150 h 57150"/>
                    <a:gd name="connsiteX2" fmla="*/ 28575 w 85725"/>
                    <a:gd name="connsiteY2" fmla="*/ 57150 h 57150"/>
                    <a:gd name="connsiteX3" fmla="*/ 85725 w 85725"/>
                    <a:gd name="connsiteY3" fmla="*/ 0 h 57150"/>
                  </a:gdLst>
                  <a:ahLst/>
                  <a:cxnLst>
                    <a:cxn ang="0">
                      <a:pos x="connsiteX0" y="connsiteY0"/>
                    </a:cxn>
                    <a:cxn ang="0">
                      <a:pos x="connsiteX1" y="connsiteY1"/>
                    </a:cxn>
                    <a:cxn ang="0">
                      <a:pos x="connsiteX2" y="connsiteY2"/>
                    </a:cxn>
                    <a:cxn ang="0">
                      <a:pos x="connsiteX3" y="connsiteY3"/>
                    </a:cxn>
                  </a:cxnLst>
                  <a:rect l="l" t="t" r="r" b="b"/>
                  <a:pathLst>
                    <a:path w="85725" h="57150">
                      <a:moveTo>
                        <a:pt x="57150" y="0"/>
                      </a:moveTo>
                      <a:lnTo>
                        <a:pt x="0" y="57150"/>
                      </a:lnTo>
                      <a:lnTo>
                        <a:pt x="28575" y="57150"/>
                      </a:lnTo>
                      <a:lnTo>
                        <a:pt x="85725" y="0"/>
                      </a:lnTo>
                      <a:close/>
                    </a:path>
                  </a:pathLst>
                </a:custGeom>
                <a:grpFill/>
                <a:ln w="9525" cap="flat">
                  <a:noFill/>
                  <a:prstDash val="solid"/>
                  <a:miter/>
                </a:ln>
              </p:spPr>
              <p:txBody>
                <a:bodyPr rtlCol="0" anchor="ctr"/>
                <a:lstStyle/>
                <a:p>
                  <a:endParaRPr lang="zh-CN" altLang="en-US"/>
                </a:p>
              </p:txBody>
            </p:sp>
            <p:sp>
              <p:nvSpPr>
                <p:cNvPr id="135" name="任意多边形: 形状 134"/>
                <p:cNvSpPr/>
                <p:nvPr/>
              </p:nvSpPr>
              <p:spPr>
                <a:xfrm>
                  <a:off x="7319104" y="2171700"/>
                  <a:ext cx="85725" cy="57150"/>
                </a:xfrm>
                <a:custGeom>
                  <a:avLst/>
                  <a:gdLst>
                    <a:gd name="connsiteX0" fmla="*/ 57150 w 85725"/>
                    <a:gd name="connsiteY0" fmla="*/ 0 h 57150"/>
                    <a:gd name="connsiteX1" fmla="*/ 0 w 85725"/>
                    <a:gd name="connsiteY1" fmla="*/ 57150 h 57150"/>
                    <a:gd name="connsiteX2" fmla="*/ 28575 w 85725"/>
                    <a:gd name="connsiteY2" fmla="*/ 57150 h 57150"/>
                    <a:gd name="connsiteX3" fmla="*/ 85725 w 85725"/>
                    <a:gd name="connsiteY3" fmla="*/ 0 h 57150"/>
                  </a:gdLst>
                  <a:ahLst/>
                  <a:cxnLst>
                    <a:cxn ang="0">
                      <a:pos x="connsiteX0" y="connsiteY0"/>
                    </a:cxn>
                    <a:cxn ang="0">
                      <a:pos x="connsiteX1" y="connsiteY1"/>
                    </a:cxn>
                    <a:cxn ang="0">
                      <a:pos x="connsiteX2" y="connsiteY2"/>
                    </a:cxn>
                    <a:cxn ang="0">
                      <a:pos x="connsiteX3" y="connsiteY3"/>
                    </a:cxn>
                  </a:cxnLst>
                  <a:rect l="l" t="t" r="r" b="b"/>
                  <a:pathLst>
                    <a:path w="85725" h="57150">
                      <a:moveTo>
                        <a:pt x="57150" y="0"/>
                      </a:moveTo>
                      <a:lnTo>
                        <a:pt x="0" y="57150"/>
                      </a:lnTo>
                      <a:lnTo>
                        <a:pt x="28575" y="57150"/>
                      </a:lnTo>
                      <a:lnTo>
                        <a:pt x="85725" y="0"/>
                      </a:lnTo>
                      <a:close/>
                    </a:path>
                  </a:pathLst>
                </a:custGeom>
                <a:grpFill/>
                <a:ln w="9525" cap="flat">
                  <a:noFill/>
                  <a:prstDash val="solid"/>
                  <a:miter/>
                </a:ln>
              </p:spPr>
              <p:txBody>
                <a:bodyPr rtlCol="0" anchor="ctr"/>
                <a:lstStyle/>
                <a:p>
                  <a:endParaRPr lang="zh-CN" altLang="en-US"/>
                </a:p>
              </p:txBody>
            </p:sp>
            <p:sp>
              <p:nvSpPr>
                <p:cNvPr id="136" name="任意多边形: 形状 135"/>
                <p:cNvSpPr/>
                <p:nvPr/>
              </p:nvSpPr>
              <p:spPr>
                <a:xfrm>
                  <a:off x="7380826" y="2171700"/>
                  <a:ext cx="85725" cy="57150"/>
                </a:xfrm>
                <a:custGeom>
                  <a:avLst/>
                  <a:gdLst>
                    <a:gd name="connsiteX0" fmla="*/ 57150 w 85725"/>
                    <a:gd name="connsiteY0" fmla="*/ 0 h 57150"/>
                    <a:gd name="connsiteX1" fmla="*/ 0 w 85725"/>
                    <a:gd name="connsiteY1" fmla="*/ 57150 h 57150"/>
                    <a:gd name="connsiteX2" fmla="*/ 28575 w 85725"/>
                    <a:gd name="connsiteY2" fmla="*/ 57150 h 57150"/>
                    <a:gd name="connsiteX3" fmla="*/ 85725 w 85725"/>
                    <a:gd name="connsiteY3" fmla="*/ 0 h 57150"/>
                  </a:gdLst>
                  <a:ahLst/>
                  <a:cxnLst>
                    <a:cxn ang="0">
                      <a:pos x="connsiteX0" y="connsiteY0"/>
                    </a:cxn>
                    <a:cxn ang="0">
                      <a:pos x="connsiteX1" y="connsiteY1"/>
                    </a:cxn>
                    <a:cxn ang="0">
                      <a:pos x="connsiteX2" y="connsiteY2"/>
                    </a:cxn>
                    <a:cxn ang="0">
                      <a:pos x="connsiteX3" y="connsiteY3"/>
                    </a:cxn>
                  </a:cxnLst>
                  <a:rect l="l" t="t" r="r" b="b"/>
                  <a:pathLst>
                    <a:path w="85725" h="57150">
                      <a:moveTo>
                        <a:pt x="57150" y="0"/>
                      </a:moveTo>
                      <a:lnTo>
                        <a:pt x="0" y="57150"/>
                      </a:lnTo>
                      <a:lnTo>
                        <a:pt x="28575" y="57150"/>
                      </a:lnTo>
                      <a:lnTo>
                        <a:pt x="85725" y="0"/>
                      </a:lnTo>
                      <a:close/>
                    </a:path>
                  </a:pathLst>
                </a:custGeom>
                <a:grpFill/>
                <a:ln w="9525" cap="flat">
                  <a:noFill/>
                  <a:prstDash val="solid"/>
                  <a:miter/>
                </a:ln>
              </p:spPr>
              <p:txBody>
                <a:bodyPr rtlCol="0" anchor="ctr"/>
                <a:lstStyle/>
                <a:p>
                  <a:endParaRPr lang="zh-CN" altLang="en-US"/>
                </a:p>
              </p:txBody>
            </p:sp>
            <p:sp>
              <p:nvSpPr>
                <p:cNvPr id="137" name="任意多边形: 形状 136"/>
                <p:cNvSpPr/>
                <p:nvPr/>
              </p:nvSpPr>
              <p:spPr>
                <a:xfrm>
                  <a:off x="7442548" y="2171700"/>
                  <a:ext cx="85725" cy="57150"/>
                </a:xfrm>
                <a:custGeom>
                  <a:avLst/>
                  <a:gdLst>
                    <a:gd name="connsiteX0" fmla="*/ 57150 w 85725"/>
                    <a:gd name="connsiteY0" fmla="*/ 0 h 57150"/>
                    <a:gd name="connsiteX1" fmla="*/ 0 w 85725"/>
                    <a:gd name="connsiteY1" fmla="*/ 57150 h 57150"/>
                    <a:gd name="connsiteX2" fmla="*/ 28575 w 85725"/>
                    <a:gd name="connsiteY2" fmla="*/ 57150 h 57150"/>
                    <a:gd name="connsiteX3" fmla="*/ 85725 w 85725"/>
                    <a:gd name="connsiteY3" fmla="*/ 0 h 57150"/>
                  </a:gdLst>
                  <a:ahLst/>
                  <a:cxnLst>
                    <a:cxn ang="0">
                      <a:pos x="connsiteX0" y="connsiteY0"/>
                    </a:cxn>
                    <a:cxn ang="0">
                      <a:pos x="connsiteX1" y="connsiteY1"/>
                    </a:cxn>
                    <a:cxn ang="0">
                      <a:pos x="connsiteX2" y="connsiteY2"/>
                    </a:cxn>
                    <a:cxn ang="0">
                      <a:pos x="connsiteX3" y="connsiteY3"/>
                    </a:cxn>
                  </a:cxnLst>
                  <a:rect l="l" t="t" r="r" b="b"/>
                  <a:pathLst>
                    <a:path w="85725" h="57150">
                      <a:moveTo>
                        <a:pt x="57150" y="0"/>
                      </a:moveTo>
                      <a:lnTo>
                        <a:pt x="0" y="57150"/>
                      </a:lnTo>
                      <a:lnTo>
                        <a:pt x="28575" y="57150"/>
                      </a:lnTo>
                      <a:lnTo>
                        <a:pt x="85725" y="0"/>
                      </a:lnTo>
                      <a:close/>
                    </a:path>
                  </a:pathLst>
                </a:custGeom>
                <a:grpFill/>
                <a:ln w="9525" cap="flat">
                  <a:noFill/>
                  <a:prstDash val="solid"/>
                  <a:miter/>
                </a:ln>
              </p:spPr>
              <p:txBody>
                <a:bodyPr rtlCol="0" anchor="ctr"/>
                <a:lstStyle/>
                <a:p>
                  <a:endParaRPr lang="zh-CN" altLang="en-US"/>
                </a:p>
              </p:txBody>
            </p:sp>
            <p:sp>
              <p:nvSpPr>
                <p:cNvPr id="138" name="任意多边形: 形状 137"/>
                <p:cNvSpPr/>
                <p:nvPr/>
              </p:nvSpPr>
              <p:spPr>
                <a:xfrm>
                  <a:off x="7504270" y="2171700"/>
                  <a:ext cx="85725" cy="57150"/>
                </a:xfrm>
                <a:custGeom>
                  <a:avLst/>
                  <a:gdLst>
                    <a:gd name="connsiteX0" fmla="*/ 57150 w 85725"/>
                    <a:gd name="connsiteY0" fmla="*/ 0 h 57150"/>
                    <a:gd name="connsiteX1" fmla="*/ 0 w 85725"/>
                    <a:gd name="connsiteY1" fmla="*/ 57150 h 57150"/>
                    <a:gd name="connsiteX2" fmla="*/ 28575 w 85725"/>
                    <a:gd name="connsiteY2" fmla="*/ 57150 h 57150"/>
                    <a:gd name="connsiteX3" fmla="*/ 85725 w 85725"/>
                    <a:gd name="connsiteY3" fmla="*/ 0 h 57150"/>
                  </a:gdLst>
                  <a:ahLst/>
                  <a:cxnLst>
                    <a:cxn ang="0">
                      <a:pos x="connsiteX0" y="connsiteY0"/>
                    </a:cxn>
                    <a:cxn ang="0">
                      <a:pos x="connsiteX1" y="connsiteY1"/>
                    </a:cxn>
                    <a:cxn ang="0">
                      <a:pos x="connsiteX2" y="connsiteY2"/>
                    </a:cxn>
                    <a:cxn ang="0">
                      <a:pos x="connsiteX3" y="connsiteY3"/>
                    </a:cxn>
                  </a:cxnLst>
                  <a:rect l="l" t="t" r="r" b="b"/>
                  <a:pathLst>
                    <a:path w="85725" h="57150">
                      <a:moveTo>
                        <a:pt x="57150" y="0"/>
                      </a:moveTo>
                      <a:lnTo>
                        <a:pt x="0" y="57150"/>
                      </a:lnTo>
                      <a:lnTo>
                        <a:pt x="28575" y="57150"/>
                      </a:lnTo>
                      <a:lnTo>
                        <a:pt x="85725" y="0"/>
                      </a:lnTo>
                      <a:close/>
                    </a:path>
                  </a:pathLst>
                </a:custGeom>
                <a:grpFill/>
                <a:ln w="9525" cap="flat">
                  <a:noFill/>
                  <a:prstDash val="solid"/>
                  <a:miter/>
                </a:ln>
              </p:spPr>
              <p:txBody>
                <a:bodyPr rtlCol="0" anchor="ctr"/>
                <a:lstStyle/>
                <a:p>
                  <a:endParaRPr lang="zh-CN" altLang="en-US"/>
                </a:p>
              </p:txBody>
            </p:sp>
            <p:sp>
              <p:nvSpPr>
                <p:cNvPr id="139" name="任意多边形: 形状 138"/>
                <p:cNvSpPr/>
                <p:nvPr/>
              </p:nvSpPr>
              <p:spPr>
                <a:xfrm>
                  <a:off x="7565992" y="2171700"/>
                  <a:ext cx="85725" cy="57150"/>
                </a:xfrm>
                <a:custGeom>
                  <a:avLst/>
                  <a:gdLst>
                    <a:gd name="connsiteX0" fmla="*/ 57150 w 85725"/>
                    <a:gd name="connsiteY0" fmla="*/ 0 h 57150"/>
                    <a:gd name="connsiteX1" fmla="*/ 0 w 85725"/>
                    <a:gd name="connsiteY1" fmla="*/ 57150 h 57150"/>
                    <a:gd name="connsiteX2" fmla="*/ 28575 w 85725"/>
                    <a:gd name="connsiteY2" fmla="*/ 57150 h 57150"/>
                    <a:gd name="connsiteX3" fmla="*/ 85725 w 85725"/>
                    <a:gd name="connsiteY3" fmla="*/ 0 h 57150"/>
                  </a:gdLst>
                  <a:ahLst/>
                  <a:cxnLst>
                    <a:cxn ang="0">
                      <a:pos x="connsiteX0" y="connsiteY0"/>
                    </a:cxn>
                    <a:cxn ang="0">
                      <a:pos x="connsiteX1" y="connsiteY1"/>
                    </a:cxn>
                    <a:cxn ang="0">
                      <a:pos x="connsiteX2" y="connsiteY2"/>
                    </a:cxn>
                    <a:cxn ang="0">
                      <a:pos x="connsiteX3" y="connsiteY3"/>
                    </a:cxn>
                  </a:cxnLst>
                  <a:rect l="l" t="t" r="r" b="b"/>
                  <a:pathLst>
                    <a:path w="85725" h="57150">
                      <a:moveTo>
                        <a:pt x="57150" y="0"/>
                      </a:moveTo>
                      <a:lnTo>
                        <a:pt x="0" y="57150"/>
                      </a:lnTo>
                      <a:lnTo>
                        <a:pt x="28575" y="57150"/>
                      </a:lnTo>
                      <a:lnTo>
                        <a:pt x="85725" y="0"/>
                      </a:lnTo>
                      <a:close/>
                    </a:path>
                  </a:pathLst>
                </a:custGeom>
                <a:grpFill/>
                <a:ln w="9525" cap="flat">
                  <a:noFill/>
                  <a:prstDash val="solid"/>
                  <a:miter/>
                </a:ln>
              </p:spPr>
              <p:txBody>
                <a:bodyPr rtlCol="0" anchor="ctr"/>
                <a:lstStyle/>
                <a:p>
                  <a:endParaRPr lang="zh-CN" altLang="en-US"/>
                </a:p>
              </p:txBody>
            </p:sp>
            <p:sp>
              <p:nvSpPr>
                <p:cNvPr id="140" name="任意多边形: 形状 139"/>
                <p:cNvSpPr/>
                <p:nvPr/>
              </p:nvSpPr>
              <p:spPr>
                <a:xfrm>
                  <a:off x="7627619" y="2171700"/>
                  <a:ext cx="85725" cy="57150"/>
                </a:xfrm>
                <a:custGeom>
                  <a:avLst/>
                  <a:gdLst>
                    <a:gd name="connsiteX0" fmla="*/ 57150 w 85725"/>
                    <a:gd name="connsiteY0" fmla="*/ 0 h 57150"/>
                    <a:gd name="connsiteX1" fmla="*/ 0 w 85725"/>
                    <a:gd name="connsiteY1" fmla="*/ 57150 h 57150"/>
                    <a:gd name="connsiteX2" fmla="*/ 28575 w 85725"/>
                    <a:gd name="connsiteY2" fmla="*/ 57150 h 57150"/>
                    <a:gd name="connsiteX3" fmla="*/ 85725 w 85725"/>
                    <a:gd name="connsiteY3" fmla="*/ 0 h 57150"/>
                  </a:gdLst>
                  <a:ahLst/>
                  <a:cxnLst>
                    <a:cxn ang="0">
                      <a:pos x="connsiteX0" y="connsiteY0"/>
                    </a:cxn>
                    <a:cxn ang="0">
                      <a:pos x="connsiteX1" y="connsiteY1"/>
                    </a:cxn>
                    <a:cxn ang="0">
                      <a:pos x="connsiteX2" y="connsiteY2"/>
                    </a:cxn>
                    <a:cxn ang="0">
                      <a:pos x="connsiteX3" y="connsiteY3"/>
                    </a:cxn>
                  </a:cxnLst>
                  <a:rect l="l" t="t" r="r" b="b"/>
                  <a:pathLst>
                    <a:path w="85725" h="57150">
                      <a:moveTo>
                        <a:pt x="57150" y="0"/>
                      </a:moveTo>
                      <a:lnTo>
                        <a:pt x="0" y="57150"/>
                      </a:lnTo>
                      <a:lnTo>
                        <a:pt x="28575" y="57150"/>
                      </a:lnTo>
                      <a:lnTo>
                        <a:pt x="85725" y="0"/>
                      </a:lnTo>
                      <a:close/>
                    </a:path>
                  </a:pathLst>
                </a:custGeom>
                <a:grpFill/>
                <a:ln w="9525" cap="flat">
                  <a:noFill/>
                  <a:prstDash val="solid"/>
                  <a:miter/>
                </a:ln>
              </p:spPr>
              <p:txBody>
                <a:bodyPr rtlCol="0" anchor="ctr"/>
                <a:lstStyle/>
                <a:p>
                  <a:endParaRPr lang="zh-CN" altLang="en-US"/>
                </a:p>
              </p:txBody>
            </p:sp>
            <p:sp>
              <p:nvSpPr>
                <p:cNvPr id="141" name="任意多边形: 形状 140"/>
                <p:cNvSpPr/>
                <p:nvPr/>
              </p:nvSpPr>
              <p:spPr>
                <a:xfrm>
                  <a:off x="7689341" y="2171700"/>
                  <a:ext cx="85725" cy="57150"/>
                </a:xfrm>
                <a:custGeom>
                  <a:avLst/>
                  <a:gdLst>
                    <a:gd name="connsiteX0" fmla="*/ 57150 w 85725"/>
                    <a:gd name="connsiteY0" fmla="*/ 0 h 57150"/>
                    <a:gd name="connsiteX1" fmla="*/ 0 w 85725"/>
                    <a:gd name="connsiteY1" fmla="*/ 57150 h 57150"/>
                    <a:gd name="connsiteX2" fmla="*/ 28575 w 85725"/>
                    <a:gd name="connsiteY2" fmla="*/ 57150 h 57150"/>
                    <a:gd name="connsiteX3" fmla="*/ 85725 w 85725"/>
                    <a:gd name="connsiteY3" fmla="*/ 0 h 57150"/>
                  </a:gdLst>
                  <a:ahLst/>
                  <a:cxnLst>
                    <a:cxn ang="0">
                      <a:pos x="connsiteX0" y="connsiteY0"/>
                    </a:cxn>
                    <a:cxn ang="0">
                      <a:pos x="connsiteX1" y="connsiteY1"/>
                    </a:cxn>
                    <a:cxn ang="0">
                      <a:pos x="connsiteX2" y="connsiteY2"/>
                    </a:cxn>
                    <a:cxn ang="0">
                      <a:pos x="connsiteX3" y="connsiteY3"/>
                    </a:cxn>
                  </a:cxnLst>
                  <a:rect l="l" t="t" r="r" b="b"/>
                  <a:pathLst>
                    <a:path w="85725" h="57150">
                      <a:moveTo>
                        <a:pt x="57150" y="0"/>
                      </a:moveTo>
                      <a:lnTo>
                        <a:pt x="0" y="57150"/>
                      </a:lnTo>
                      <a:lnTo>
                        <a:pt x="28575" y="57150"/>
                      </a:lnTo>
                      <a:lnTo>
                        <a:pt x="85725" y="0"/>
                      </a:lnTo>
                      <a:close/>
                    </a:path>
                  </a:pathLst>
                </a:custGeom>
                <a:grpFill/>
                <a:ln w="9525" cap="flat">
                  <a:noFill/>
                  <a:prstDash val="solid"/>
                  <a:miter/>
                </a:ln>
              </p:spPr>
              <p:txBody>
                <a:bodyPr rtlCol="0" anchor="ctr"/>
                <a:lstStyle/>
                <a:p>
                  <a:endParaRPr lang="zh-CN" altLang="en-US"/>
                </a:p>
              </p:txBody>
            </p:sp>
            <p:sp>
              <p:nvSpPr>
                <p:cNvPr id="142" name="任意多边形: 形状 141"/>
                <p:cNvSpPr/>
                <p:nvPr/>
              </p:nvSpPr>
              <p:spPr>
                <a:xfrm>
                  <a:off x="7751063" y="2171700"/>
                  <a:ext cx="85725" cy="57150"/>
                </a:xfrm>
                <a:custGeom>
                  <a:avLst/>
                  <a:gdLst>
                    <a:gd name="connsiteX0" fmla="*/ 57150 w 85725"/>
                    <a:gd name="connsiteY0" fmla="*/ 0 h 57150"/>
                    <a:gd name="connsiteX1" fmla="*/ 0 w 85725"/>
                    <a:gd name="connsiteY1" fmla="*/ 57150 h 57150"/>
                    <a:gd name="connsiteX2" fmla="*/ 28575 w 85725"/>
                    <a:gd name="connsiteY2" fmla="*/ 57150 h 57150"/>
                    <a:gd name="connsiteX3" fmla="*/ 85725 w 85725"/>
                    <a:gd name="connsiteY3" fmla="*/ 0 h 57150"/>
                  </a:gdLst>
                  <a:ahLst/>
                  <a:cxnLst>
                    <a:cxn ang="0">
                      <a:pos x="connsiteX0" y="connsiteY0"/>
                    </a:cxn>
                    <a:cxn ang="0">
                      <a:pos x="connsiteX1" y="connsiteY1"/>
                    </a:cxn>
                    <a:cxn ang="0">
                      <a:pos x="connsiteX2" y="connsiteY2"/>
                    </a:cxn>
                    <a:cxn ang="0">
                      <a:pos x="connsiteX3" y="connsiteY3"/>
                    </a:cxn>
                  </a:cxnLst>
                  <a:rect l="l" t="t" r="r" b="b"/>
                  <a:pathLst>
                    <a:path w="85725" h="57150">
                      <a:moveTo>
                        <a:pt x="57150" y="0"/>
                      </a:moveTo>
                      <a:lnTo>
                        <a:pt x="0" y="57150"/>
                      </a:lnTo>
                      <a:lnTo>
                        <a:pt x="28575" y="57150"/>
                      </a:lnTo>
                      <a:lnTo>
                        <a:pt x="85725" y="0"/>
                      </a:lnTo>
                      <a:close/>
                    </a:path>
                  </a:pathLst>
                </a:custGeom>
                <a:grpFill/>
                <a:ln w="9525" cap="flat">
                  <a:noFill/>
                  <a:prstDash val="solid"/>
                  <a:miter/>
                </a:ln>
              </p:spPr>
              <p:txBody>
                <a:bodyPr rtlCol="0" anchor="ctr"/>
                <a:lstStyle/>
                <a:p>
                  <a:endParaRPr lang="zh-CN" altLang="en-US"/>
                </a:p>
              </p:txBody>
            </p:sp>
            <p:sp>
              <p:nvSpPr>
                <p:cNvPr id="143" name="任意多边形: 形状 142"/>
                <p:cNvSpPr/>
                <p:nvPr/>
              </p:nvSpPr>
              <p:spPr>
                <a:xfrm>
                  <a:off x="7812785" y="2171700"/>
                  <a:ext cx="85725" cy="57150"/>
                </a:xfrm>
                <a:custGeom>
                  <a:avLst/>
                  <a:gdLst>
                    <a:gd name="connsiteX0" fmla="*/ 57150 w 85725"/>
                    <a:gd name="connsiteY0" fmla="*/ 0 h 57150"/>
                    <a:gd name="connsiteX1" fmla="*/ 0 w 85725"/>
                    <a:gd name="connsiteY1" fmla="*/ 57150 h 57150"/>
                    <a:gd name="connsiteX2" fmla="*/ 28575 w 85725"/>
                    <a:gd name="connsiteY2" fmla="*/ 57150 h 57150"/>
                    <a:gd name="connsiteX3" fmla="*/ 85725 w 85725"/>
                    <a:gd name="connsiteY3" fmla="*/ 0 h 57150"/>
                  </a:gdLst>
                  <a:ahLst/>
                  <a:cxnLst>
                    <a:cxn ang="0">
                      <a:pos x="connsiteX0" y="connsiteY0"/>
                    </a:cxn>
                    <a:cxn ang="0">
                      <a:pos x="connsiteX1" y="connsiteY1"/>
                    </a:cxn>
                    <a:cxn ang="0">
                      <a:pos x="connsiteX2" y="connsiteY2"/>
                    </a:cxn>
                    <a:cxn ang="0">
                      <a:pos x="connsiteX3" y="connsiteY3"/>
                    </a:cxn>
                  </a:cxnLst>
                  <a:rect l="l" t="t" r="r" b="b"/>
                  <a:pathLst>
                    <a:path w="85725" h="57150">
                      <a:moveTo>
                        <a:pt x="57150" y="0"/>
                      </a:moveTo>
                      <a:lnTo>
                        <a:pt x="0" y="57150"/>
                      </a:lnTo>
                      <a:lnTo>
                        <a:pt x="28575" y="57150"/>
                      </a:lnTo>
                      <a:lnTo>
                        <a:pt x="85725" y="0"/>
                      </a:lnTo>
                      <a:close/>
                    </a:path>
                  </a:pathLst>
                </a:custGeom>
                <a:grpFill/>
                <a:ln w="9525" cap="flat">
                  <a:noFill/>
                  <a:prstDash val="solid"/>
                  <a:miter/>
                </a:ln>
              </p:spPr>
              <p:txBody>
                <a:bodyPr rtlCol="0" anchor="ctr"/>
                <a:lstStyle/>
                <a:p>
                  <a:endParaRPr lang="zh-CN" altLang="en-US"/>
                </a:p>
              </p:txBody>
            </p:sp>
            <p:sp>
              <p:nvSpPr>
                <p:cNvPr id="144" name="任意多边形: 形状 143"/>
                <p:cNvSpPr/>
                <p:nvPr/>
              </p:nvSpPr>
              <p:spPr>
                <a:xfrm>
                  <a:off x="7874507" y="2171700"/>
                  <a:ext cx="85725" cy="57150"/>
                </a:xfrm>
                <a:custGeom>
                  <a:avLst/>
                  <a:gdLst>
                    <a:gd name="connsiteX0" fmla="*/ 57150 w 85725"/>
                    <a:gd name="connsiteY0" fmla="*/ 0 h 57150"/>
                    <a:gd name="connsiteX1" fmla="*/ 0 w 85725"/>
                    <a:gd name="connsiteY1" fmla="*/ 57150 h 57150"/>
                    <a:gd name="connsiteX2" fmla="*/ 28575 w 85725"/>
                    <a:gd name="connsiteY2" fmla="*/ 57150 h 57150"/>
                    <a:gd name="connsiteX3" fmla="*/ 85725 w 85725"/>
                    <a:gd name="connsiteY3" fmla="*/ 0 h 57150"/>
                  </a:gdLst>
                  <a:ahLst/>
                  <a:cxnLst>
                    <a:cxn ang="0">
                      <a:pos x="connsiteX0" y="connsiteY0"/>
                    </a:cxn>
                    <a:cxn ang="0">
                      <a:pos x="connsiteX1" y="connsiteY1"/>
                    </a:cxn>
                    <a:cxn ang="0">
                      <a:pos x="connsiteX2" y="connsiteY2"/>
                    </a:cxn>
                    <a:cxn ang="0">
                      <a:pos x="connsiteX3" y="connsiteY3"/>
                    </a:cxn>
                  </a:cxnLst>
                  <a:rect l="l" t="t" r="r" b="b"/>
                  <a:pathLst>
                    <a:path w="85725" h="57150">
                      <a:moveTo>
                        <a:pt x="57150" y="0"/>
                      </a:moveTo>
                      <a:lnTo>
                        <a:pt x="0" y="57150"/>
                      </a:lnTo>
                      <a:lnTo>
                        <a:pt x="28575" y="57150"/>
                      </a:lnTo>
                      <a:lnTo>
                        <a:pt x="85725" y="0"/>
                      </a:lnTo>
                      <a:close/>
                    </a:path>
                  </a:pathLst>
                </a:custGeom>
                <a:grpFill/>
                <a:ln w="9525" cap="flat">
                  <a:noFill/>
                  <a:prstDash val="solid"/>
                  <a:miter/>
                </a:ln>
              </p:spPr>
              <p:txBody>
                <a:bodyPr rtlCol="0" anchor="ctr"/>
                <a:lstStyle/>
                <a:p>
                  <a:endParaRPr lang="zh-CN" altLang="en-US"/>
                </a:p>
              </p:txBody>
            </p:sp>
            <p:sp>
              <p:nvSpPr>
                <p:cNvPr id="145" name="任意多边形: 形状 144"/>
                <p:cNvSpPr/>
                <p:nvPr/>
              </p:nvSpPr>
              <p:spPr>
                <a:xfrm>
                  <a:off x="7936229" y="2171700"/>
                  <a:ext cx="85725" cy="57150"/>
                </a:xfrm>
                <a:custGeom>
                  <a:avLst/>
                  <a:gdLst>
                    <a:gd name="connsiteX0" fmla="*/ 57150 w 85725"/>
                    <a:gd name="connsiteY0" fmla="*/ 0 h 57150"/>
                    <a:gd name="connsiteX1" fmla="*/ 0 w 85725"/>
                    <a:gd name="connsiteY1" fmla="*/ 57150 h 57150"/>
                    <a:gd name="connsiteX2" fmla="*/ 28575 w 85725"/>
                    <a:gd name="connsiteY2" fmla="*/ 57150 h 57150"/>
                    <a:gd name="connsiteX3" fmla="*/ 85725 w 85725"/>
                    <a:gd name="connsiteY3" fmla="*/ 0 h 57150"/>
                  </a:gdLst>
                  <a:ahLst/>
                  <a:cxnLst>
                    <a:cxn ang="0">
                      <a:pos x="connsiteX0" y="connsiteY0"/>
                    </a:cxn>
                    <a:cxn ang="0">
                      <a:pos x="connsiteX1" y="connsiteY1"/>
                    </a:cxn>
                    <a:cxn ang="0">
                      <a:pos x="connsiteX2" y="connsiteY2"/>
                    </a:cxn>
                    <a:cxn ang="0">
                      <a:pos x="connsiteX3" y="connsiteY3"/>
                    </a:cxn>
                  </a:cxnLst>
                  <a:rect l="l" t="t" r="r" b="b"/>
                  <a:pathLst>
                    <a:path w="85725" h="57150">
                      <a:moveTo>
                        <a:pt x="57150" y="0"/>
                      </a:moveTo>
                      <a:lnTo>
                        <a:pt x="0" y="57150"/>
                      </a:lnTo>
                      <a:lnTo>
                        <a:pt x="28575" y="57150"/>
                      </a:lnTo>
                      <a:lnTo>
                        <a:pt x="85725" y="0"/>
                      </a:lnTo>
                      <a:close/>
                    </a:path>
                  </a:pathLst>
                </a:custGeom>
                <a:grpFill/>
                <a:ln w="9525" cap="flat">
                  <a:noFill/>
                  <a:prstDash val="solid"/>
                  <a:miter/>
                </a:ln>
              </p:spPr>
              <p:txBody>
                <a:bodyPr rtlCol="0" anchor="ctr"/>
                <a:lstStyle/>
                <a:p>
                  <a:endParaRPr lang="zh-CN" altLang="en-US"/>
                </a:p>
              </p:txBody>
            </p:sp>
            <p:sp>
              <p:nvSpPr>
                <p:cNvPr id="146" name="任意多边形: 形状 145"/>
                <p:cNvSpPr/>
                <p:nvPr/>
              </p:nvSpPr>
              <p:spPr>
                <a:xfrm>
                  <a:off x="7997856" y="2171700"/>
                  <a:ext cx="85724" cy="57150"/>
                </a:xfrm>
                <a:custGeom>
                  <a:avLst/>
                  <a:gdLst>
                    <a:gd name="connsiteX0" fmla="*/ 57150 w 85724"/>
                    <a:gd name="connsiteY0" fmla="*/ 0 h 57150"/>
                    <a:gd name="connsiteX1" fmla="*/ 0 w 85724"/>
                    <a:gd name="connsiteY1" fmla="*/ 57150 h 57150"/>
                    <a:gd name="connsiteX2" fmla="*/ 28575 w 85724"/>
                    <a:gd name="connsiteY2" fmla="*/ 57150 h 57150"/>
                    <a:gd name="connsiteX3" fmla="*/ 85725 w 85724"/>
                    <a:gd name="connsiteY3" fmla="*/ 0 h 57150"/>
                  </a:gdLst>
                  <a:ahLst/>
                  <a:cxnLst>
                    <a:cxn ang="0">
                      <a:pos x="connsiteX0" y="connsiteY0"/>
                    </a:cxn>
                    <a:cxn ang="0">
                      <a:pos x="connsiteX1" y="connsiteY1"/>
                    </a:cxn>
                    <a:cxn ang="0">
                      <a:pos x="connsiteX2" y="connsiteY2"/>
                    </a:cxn>
                    <a:cxn ang="0">
                      <a:pos x="connsiteX3" y="connsiteY3"/>
                    </a:cxn>
                  </a:cxnLst>
                  <a:rect l="l" t="t" r="r" b="b"/>
                  <a:pathLst>
                    <a:path w="85724" h="57150">
                      <a:moveTo>
                        <a:pt x="57150" y="0"/>
                      </a:moveTo>
                      <a:lnTo>
                        <a:pt x="0" y="57150"/>
                      </a:lnTo>
                      <a:lnTo>
                        <a:pt x="28575" y="57150"/>
                      </a:lnTo>
                      <a:lnTo>
                        <a:pt x="85725" y="0"/>
                      </a:lnTo>
                      <a:close/>
                    </a:path>
                  </a:pathLst>
                </a:custGeom>
                <a:grpFill/>
                <a:ln w="9525" cap="flat">
                  <a:noFill/>
                  <a:prstDash val="solid"/>
                  <a:miter/>
                </a:ln>
              </p:spPr>
              <p:txBody>
                <a:bodyPr rtlCol="0" anchor="ctr"/>
                <a:lstStyle/>
                <a:p>
                  <a:endParaRPr lang="zh-CN" altLang="en-US"/>
                </a:p>
              </p:txBody>
            </p:sp>
            <p:sp>
              <p:nvSpPr>
                <p:cNvPr id="147" name="任意多边形: 形状 146"/>
                <p:cNvSpPr/>
                <p:nvPr/>
              </p:nvSpPr>
              <p:spPr>
                <a:xfrm>
                  <a:off x="8059578" y="2171700"/>
                  <a:ext cx="85725" cy="57150"/>
                </a:xfrm>
                <a:custGeom>
                  <a:avLst/>
                  <a:gdLst>
                    <a:gd name="connsiteX0" fmla="*/ 57150 w 85725"/>
                    <a:gd name="connsiteY0" fmla="*/ 0 h 57150"/>
                    <a:gd name="connsiteX1" fmla="*/ 0 w 85725"/>
                    <a:gd name="connsiteY1" fmla="*/ 57150 h 57150"/>
                    <a:gd name="connsiteX2" fmla="*/ 28575 w 85725"/>
                    <a:gd name="connsiteY2" fmla="*/ 57150 h 57150"/>
                    <a:gd name="connsiteX3" fmla="*/ 85725 w 85725"/>
                    <a:gd name="connsiteY3" fmla="*/ 0 h 57150"/>
                  </a:gdLst>
                  <a:ahLst/>
                  <a:cxnLst>
                    <a:cxn ang="0">
                      <a:pos x="connsiteX0" y="connsiteY0"/>
                    </a:cxn>
                    <a:cxn ang="0">
                      <a:pos x="connsiteX1" y="connsiteY1"/>
                    </a:cxn>
                    <a:cxn ang="0">
                      <a:pos x="connsiteX2" y="connsiteY2"/>
                    </a:cxn>
                    <a:cxn ang="0">
                      <a:pos x="connsiteX3" y="connsiteY3"/>
                    </a:cxn>
                  </a:cxnLst>
                  <a:rect l="l" t="t" r="r" b="b"/>
                  <a:pathLst>
                    <a:path w="85725" h="57150">
                      <a:moveTo>
                        <a:pt x="57150" y="0"/>
                      </a:moveTo>
                      <a:lnTo>
                        <a:pt x="0" y="57150"/>
                      </a:lnTo>
                      <a:lnTo>
                        <a:pt x="28575" y="57150"/>
                      </a:lnTo>
                      <a:lnTo>
                        <a:pt x="85725" y="0"/>
                      </a:lnTo>
                      <a:close/>
                    </a:path>
                  </a:pathLst>
                </a:custGeom>
                <a:grpFill/>
                <a:ln w="9525" cap="flat">
                  <a:noFill/>
                  <a:prstDash val="solid"/>
                  <a:miter/>
                </a:ln>
              </p:spPr>
              <p:txBody>
                <a:bodyPr rtlCol="0" anchor="ctr"/>
                <a:lstStyle/>
                <a:p>
                  <a:endParaRPr lang="zh-CN" altLang="en-US"/>
                </a:p>
              </p:txBody>
            </p:sp>
          </p:grpSp>
        </p:grpSp>
        <p:pic>
          <p:nvPicPr>
            <p:cNvPr id="7" name="图片 6"/>
            <p:cNvPicPr>
              <a:picLocks noChangeAspect="1"/>
            </p:cNvPicPr>
            <p:nvPr/>
          </p:nvPicPr>
          <p:blipFill>
            <a:blip r:embed="rId3" cstate="screen"/>
            <a:stretch>
              <a:fillRect/>
            </a:stretch>
          </p:blipFill>
          <p:spPr>
            <a:xfrm>
              <a:off x="4200491" y="2416212"/>
              <a:ext cx="3662683" cy="2104687"/>
            </a:xfrm>
            <a:prstGeom prst="rect">
              <a:avLst/>
            </a:prstGeom>
          </p:spPr>
        </p:pic>
      </p:grpSp>
      <p:sp>
        <p:nvSpPr>
          <p:cNvPr id="5" name="标题 4"/>
          <p:cNvSpPr>
            <a:spLocks noGrp="1"/>
          </p:cNvSpPr>
          <p:nvPr>
            <p:ph type="title" hasCustomPrompt="1"/>
          </p:nvPr>
        </p:nvSpPr>
        <p:spPr>
          <a:xfrm>
            <a:off x="1611862" y="1681242"/>
            <a:ext cx="8955576" cy="1840672"/>
          </a:xfrm>
          <a:prstGeom prst="rect">
            <a:avLst/>
          </a:prstGeom>
          <a:noFill/>
        </p:spPr>
        <p:txBody>
          <a:bodyPr wrap="square" anchor="b">
            <a:normAutofit/>
          </a:bodyPr>
          <a:lstStyle>
            <a:lvl1pPr algn="ctr">
              <a:lnSpc>
                <a:spcPct val="100000"/>
              </a:lnSpc>
              <a:defRPr sz="6000">
                <a:ln w="19050">
                  <a:noFill/>
                </a:ln>
                <a:gradFill flip="none" rotWithShape="1">
                  <a:gsLst>
                    <a:gs pos="0">
                      <a:schemeClr val="accent2">
                        <a:lumMod val="60000"/>
                        <a:lumOff val="40000"/>
                      </a:schemeClr>
                    </a:gs>
                    <a:gs pos="50000">
                      <a:schemeClr val="tx1"/>
                    </a:gs>
                    <a:gs pos="100000">
                      <a:schemeClr val="accent2">
                        <a:lumMod val="60000"/>
                        <a:lumOff val="40000"/>
                      </a:schemeClr>
                    </a:gs>
                  </a:gsLst>
                  <a:lin ang="0" scaled="1"/>
                  <a:tileRect/>
                </a:gradFill>
                <a:effectLst>
                  <a:outerShdw blurRad="254000" dist="127000" dir="5400000" algn="t" rotWithShape="0">
                    <a:schemeClr val="accent1">
                      <a:lumMod val="75000"/>
                      <a:alpha val="40000"/>
                    </a:schemeClr>
                  </a:outerShdw>
                </a:effectLst>
              </a:defRPr>
            </a:lvl1pPr>
          </a:lstStyle>
          <a:p>
            <a:pPr lvl="0"/>
            <a:r>
              <a:rPr lang="en-US"/>
              <a:t>Click to add title</a:t>
            </a:r>
            <a:endParaRPr lang="en-US"/>
          </a:p>
        </p:txBody>
      </p:sp>
      <p:sp>
        <p:nvSpPr>
          <p:cNvPr id="107" name="文本占位符 106"/>
          <p:cNvSpPr>
            <a:spLocks noGrp="1"/>
          </p:cNvSpPr>
          <p:nvPr>
            <p:ph type="body" sz="quarter" idx="13" hasCustomPrompt="1"/>
          </p:nvPr>
        </p:nvSpPr>
        <p:spPr>
          <a:xfrm>
            <a:off x="3753969" y="4369966"/>
            <a:ext cx="2160000" cy="360000"/>
          </a:xfrm>
          <a:prstGeom prst="roundRect">
            <a:avLst/>
          </a:prstGeom>
          <a:gradFill flip="none" rotWithShape="1">
            <a:gsLst>
              <a:gs pos="0">
                <a:schemeClr val="accent2">
                  <a:lumMod val="60000"/>
                  <a:lumOff val="40000"/>
                </a:schemeClr>
              </a:gs>
              <a:gs pos="60000">
                <a:schemeClr val="accent2"/>
              </a:gs>
            </a:gsLst>
            <a:lin ang="2700000" scaled="1"/>
            <a:tileRect/>
          </a:gradFill>
          <a:effectLst>
            <a:outerShdw blurRad="254000" dist="127000" dir="5400000" algn="t" rotWithShape="0">
              <a:schemeClr val="accent2">
                <a:lumMod val="75000"/>
                <a:alpha val="30000"/>
              </a:schemeClr>
            </a:outerShdw>
          </a:effectLst>
        </p:spPr>
        <p:txBody>
          <a:bodyPr wrap="square" lIns="90000" anchor="ctr">
            <a:normAutofit/>
          </a:bodyPr>
          <a:lstStyle>
            <a:lvl1pPr marL="0" indent="0" algn="ctr">
              <a:lnSpc>
                <a:spcPct val="100000"/>
              </a:lnSpc>
              <a:buNone/>
              <a:defRPr sz="1200">
                <a:solidFill>
                  <a:schemeClr val="tx1"/>
                </a:solidFill>
              </a:defRPr>
            </a:lvl1pPr>
          </a:lstStyle>
          <a:p>
            <a:pPr lvl="0"/>
            <a:r>
              <a:rPr lang="en-US"/>
              <a:t>Presenter name</a:t>
            </a:r>
            <a:endParaRPr lang="en-US"/>
          </a:p>
        </p:txBody>
      </p:sp>
      <p:sp>
        <p:nvSpPr>
          <p:cNvPr id="108" name="文本占位符 107"/>
          <p:cNvSpPr>
            <a:spLocks noGrp="1"/>
          </p:cNvSpPr>
          <p:nvPr>
            <p:ph type="body" sz="quarter" idx="14" hasCustomPrompt="1"/>
          </p:nvPr>
        </p:nvSpPr>
        <p:spPr>
          <a:xfrm>
            <a:off x="6265331" y="4369966"/>
            <a:ext cx="2160000" cy="360000"/>
          </a:xfrm>
          <a:prstGeom prst="roundRect">
            <a:avLst/>
          </a:prstGeom>
          <a:gradFill flip="none" rotWithShape="1">
            <a:gsLst>
              <a:gs pos="0">
                <a:schemeClr val="accent3">
                  <a:lumMod val="60000"/>
                  <a:lumOff val="40000"/>
                </a:schemeClr>
              </a:gs>
              <a:gs pos="60000">
                <a:schemeClr val="accent3"/>
              </a:gs>
            </a:gsLst>
            <a:lin ang="2700000" scaled="1"/>
            <a:tileRect/>
          </a:gradFill>
          <a:effectLst>
            <a:outerShdw blurRad="254000" dist="127000" dir="5400000" algn="t" rotWithShape="0">
              <a:schemeClr val="accent3">
                <a:lumMod val="75000"/>
                <a:alpha val="30000"/>
              </a:schemeClr>
            </a:outerShdw>
          </a:effectLst>
        </p:spPr>
        <p:txBody>
          <a:bodyPr wrap="none" anchor="ctr">
            <a:normAutofit/>
          </a:bodyPr>
          <a:lstStyle>
            <a:lvl1pPr marL="0" indent="0" algn="ctr">
              <a:lnSpc>
                <a:spcPct val="100000"/>
              </a:lnSpc>
              <a:buNone/>
              <a:defRPr sz="1200">
                <a:solidFill>
                  <a:schemeClr val="tx1"/>
                </a:solidFill>
              </a:defRPr>
            </a:lvl1pPr>
          </a:lstStyle>
          <a:p>
            <a:pPr lvl="0"/>
            <a:r>
              <a:rPr lang="en-US"/>
              <a:t>www.officeplus.cn</a:t>
            </a:r>
            <a:endParaRPr lang="en-US"/>
          </a:p>
        </p:txBody>
      </p:sp>
    </p:spTree>
  </p:cSld>
  <p:clrMapOvr>
    <a:overrideClrMapping bg1="dk1" tx1="lt1" bg2="dk2" tx2="lt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末尾幻灯片">
    <p:spTree>
      <p:nvGrpSpPr>
        <p:cNvPr id="1" name=""/>
        <p:cNvGrpSpPr/>
        <p:nvPr/>
      </p:nvGrpSpPr>
      <p:grpSpPr>
        <a:xfrm>
          <a:off x="0" y="0"/>
          <a:ext cx="0" cy="0"/>
          <a:chOff x="0" y="0"/>
          <a:chExt cx="0" cy="0"/>
        </a:xfrm>
      </p:grpSpPr>
      <p:pic>
        <p:nvPicPr>
          <p:cNvPr id="5" name="图片 4"/>
          <p:cNvPicPr>
            <a:picLocks noChangeAspect="1"/>
          </p:cNvPicPr>
          <p:nvPr userDrawn="1"/>
        </p:nvPicPr>
        <p:blipFill>
          <a:blip r:embed="rId2"/>
          <a:stretch>
            <a:fillRect/>
          </a:stretch>
        </p:blipFill>
        <p:spPr>
          <a:xfrm flipH="1" flipV="1">
            <a:off x="0" y="0"/>
            <a:ext cx="12192000" cy="6858000"/>
          </a:xfrm>
          <a:prstGeom prst="rect">
            <a:avLst/>
          </a:prstGeom>
        </p:spPr>
      </p:pic>
      <p:sp>
        <p:nvSpPr>
          <p:cNvPr id="13" name="标题 12"/>
          <p:cNvSpPr>
            <a:spLocks noGrp="1"/>
          </p:cNvSpPr>
          <p:nvPr userDrawn="1">
            <p:ph type="ctrTitle" hasCustomPrompt="1"/>
          </p:nvPr>
        </p:nvSpPr>
        <p:spPr>
          <a:xfrm>
            <a:off x="673100" y="3116263"/>
            <a:ext cx="10845798" cy="1621509"/>
          </a:xfrm>
        </p:spPr>
        <p:txBody>
          <a:bodyPr anchor="b">
            <a:normAutofit/>
          </a:bodyPr>
          <a:lstStyle>
            <a:lvl1pPr marL="0" indent="0" algn="r">
              <a:buFont typeface="Arial" panose="020B0604020202020204" pitchFamily="34" charset="0"/>
              <a:buNone/>
              <a:defRPr sz="3200">
                <a:solidFill>
                  <a:schemeClr val="bg1"/>
                </a:solidFill>
              </a:defRPr>
            </a:lvl1pPr>
          </a:lstStyle>
          <a:p>
            <a:r>
              <a:rPr lang="en-US" altLang="zh-CN" dirty="0"/>
              <a:t>Conclusion</a:t>
            </a:r>
            <a:endParaRPr lang="zh-CN" altLang="en-US" dirty="0"/>
          </a:p>
        </p:txBody>
      </p:sp>
      <p:sp>
        <p:nvSpPr>
          <p:cNvPr id="15" name="文本占位符 14"/>
          <p:cNvSpPr>
            <a:spLocks noGrp="1"/>
          </p:cNvSpPr>
          <p:nvPr userDrawn="1">
            <p:ph type="body" sz="quarter" idx="18" hasCustomPrompt="1"/>
          </p:nvPr>
        </p:nvSpPr>
        <p:spPr>
          <a:xfrm>
            <a:off x="673100" y="5422499"/>
            <a:ext cx="10845798" cy="310871"/>
          </a:xfrm>
        </p:spPr>
        <p:txBody>
          <a:bodyPr vert="horz" lIns="91440" tIns="45720" rIns="91440" bIns="45720" rtlCol="0">
            <a:normAutofit/>
          </a:bodyPr>
          <a:lstStyle>
            <a:lvl1pPr marL="0" indent="0" algn="r">
              <a:buNone/>
              <a:defRPr lang="zh-CN" altLang="en-US" sz="1400" smtClean="0">
                <a:solidFill>
                  <a:schemeClr val="bg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600" marR="0" lvl="0" indent="-228600" fontAlgn="auto">
              <a:spcAft>
                <a:spcPts val="0"/>
              </a:spcAft>
              <a:buClrTx/>
              <a:buSzTx/>
            </a:pPr>
            <a:r>
              <a:rPr lang="en-US" altLang="zh-CN" dirty="0"/>
              <a:t>Data</a:t>
            </a:r>
            <a:endParaRPr lang="en-US" altLang="zh-CN" dirty="0"/>
          </a:p>
        </p:txBody>
      </p:sp>
      <p:sp>
        <p:nvSpPr>
          <p:cNvPr id="6" name="文本占位符 5"/>
          <p:cNvSpPr>
            <a:spLocks noGrp="1"/>
          </p:cNvSpPr>
          <p:nvPr>
            <p:ph type="body" sz="quarter" idx="10" hasCustomPrompt="1"/>
          </p:nvPr>
        </p:nvSpPr>
        <p:spPr>
          <a:xfrm>
            <a:off x="673102" y="5126228"/>
            <a:ext cx="10845798" cy="296271"/>
          </a:xfrm>
        </p:spPr>
        <p:txBody>
          <a:bodyPr vert="horz" anchor="ctr">
            <a:noAutofit/>
          </a:bodyPr>
          <a:lstStyle>
            <a:lvl1pPr marL="0" indent="0" algn="r">
              <a:buNone/>
              <a:defRPr sz="14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dirty="0"/>
              <a:t>Signature</a:t>
            </a:r>
            <a:endParaRPr lang="en-US" altLang="zh-CN" dirty="0"/>
          </a:p>
        </p:txBody>
      </p:sp>
    </p:spTree>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9" Type="http://schemas.openxmlformats.org/officeDocument/2006/relationships/image" Target="../media/image1.jpeg"/><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0" Type="http://schemas.openxmlformats.org/officeDocument/2006/relationships/theme" Target="../theme/theme1.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gradFill>
          <a:gsLst>
            <a:gs pos="0">
              <a:schemeClr val="accent1">
                <a:lumMod val="75000"/>
              </a:schemeClr>
            </a:gs>
            <a:gs pos="72000">
              <a:schemeClr val="accent1">
                <a:lumMod val="50000"/>
              </a:schemeClr>
            </a:gs>
          </a:gsLst>
          <a:lin ang="2700000" scaled="1"/>
        </a:gradFill>
        <a:effectLst/>
      </p:bgPr>
    </p:bg>
    <p:spTree>
      <p:nvGrpSpPr>
        <p:cNvPr id="1" name=""/>
        <p:cNvGrpSpPr/>
        <p:nvPr/>
      </p:nvGrpSpPr>
      <p:grpSpPr>
        <a:xfrm>
          <a:off x="0" y="0"/>
          <a:ext cx="0" cy="0"/>
          <a:chOff x="0" y="0"/>
          <a:chExt cx="0" cy="0"/>
        </a:xfrm>
      </p:grpSpPr>
      <p:grpSp>
        <p:nvGrpSpPr>
          <p:cNvPr id="110" name="组合 109"/>
          <p:cNvGrpSpPr/>
          <p:nvPr/>
        </p:nvGrpSpPr>
        <p:grpSpPr>
          <a:xfrm>
            <a:off x="0" y="0"/>
            <a:ext cx="12192000" cy="6858001"/>
            <a:chOff x="0" y="0"/>
            <a:chExt cx="12192000" cy="6858001"/>
          </a:xfrm>
        </p:grpSpPr>
        <p:grpSp>
          <p:nvGrpSpPr>
            <p:cNvPr id="14" name="组合 13"/>
            <p:cNvGrpSpPr/>
            <p:nvPr/>
          </p:nvGrpSpPr>
          <p:grpSpPr>
            <a:xfrm>
              <a:off x="0" y="0"/>
              <a:ext cx="12192000" cy="6858001"/>
              <a:chOff x="0" y="0"/>
              <a:chExt cx="12192000" cy="6858001"/>
            </a:xfrm>
          </p:grpSpPr>
          <p:sp>
            <p:nvSpPr>
              <p:cNvPr id="108" name="矩形 107"/>
              <p:cNvSpPr/>
              <p:nvPr/>
            </p:nvSpPr>
            <p:spPr>
              <a:xfrm>
                <a:off x="0" y="0"/>
                <a:ext cx="12192000" cy="6858000"/>
              </a:xfrm>
              <a:prstGeom prst="rect">
                <a:avLst/>
              </a:prstGeom>
              <a:blipFill>
                <a:blip r:embed="rId9"/>
                <a:srcRect/>
                <a:stretch>
                  <a:fillRect l="-8947" t="-12098" r="-11579" b="-7988"/>
                </a:stretch>
              </a:blipFill>
              <a:ln w="38100">
                <a:noFill/>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noAutofit/>
              </a:bodyPr>
              <a:lstStyle/>
              <a:p>
                <a:pPr lvl="0" algn="ctr"/>
                <a:endParaRPr lang="zh-CN" altLang="en-US"/>
              </a:p>
            </p:txBody>
          </p:sp>
          <p:sp>
            <p:nvSpPr>
              <p:cNvPr id="109" name="矩形 108"/>
              <p:cNvSpPr/>
              <p:nvPr/>
            </p:nvSpPr>
            <p:spPr>
              <a:xfrm>
                <a:off x="0" y="0"/>
                <a:ext cx="12192000" cy="6858001"/>
              </a:xfrm>
              <a:prstGeom prst="rect">
                <a:avLst/>
              </a:prstGeom>
              <a:gradFill flip="none" rotWithShape="1">
                <a:gsLst>
                  <a:gs pos="0">
                    <a:schemeClr val="accent1">
                      <a:lumMod val="75000"/>
                    </a:schemeClr>
                  </a:gs>
                  <a:gs pos="50000">
                    <a:schemeClr val="accent1">
                      <a:alpha val="90000"/>
                    </a:schemeClr>
                  </a:gs>
                  <a:gs pos="100000">
                    <a:schemeClr val="accent1">
                      <a:lumMod val="50000"/>
                    </a:schemeClr>
                  </a:gs>
                </a:gsLst>
                <a:lin ang="8100000" scaled="1"/>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zh-CN" altLang="en-US" dirty="0"/>
              </a:p>
            </p:txBody>
          </p:sp>
        </p:grpSp>
        <p:sp>
          <p:nvSpPr>
            <p:cNvPr id="9" name="任意多边形: 形状 8"/>
            <p:cNvSpPr/>
            <p:nvPr/>
          </p:nvSpPr>
          <p:spPr>
            <a:xfrm rot="7200000">
              <a:off x="275986" y="643475"/>
              <a:ext cx="310115" cy="350630"/>
            </a:xfrm>
            <a:custGeom>
              <a:avLst/>
              <a:gdLst>
                <a:gd name="connsiteX0" fmla="*/ 1496663 w 1635382"/>
                <a:gd name="connsiteY0" fmla="*/ 679532 h 1849045"/>
                <a:gd name="connsiteX1" fmla="*/ 432721 w 1635382"/>
                <a:gd name="connsiteY1" fmla="*/ 41167 h 1849045"/>
                <a:gd name="connsiteX2" fmla="*/ 0 w 1635382"/>
                <a:gd name="connsiteY2" fmla="*/ 286245 h 1849045"/>
                <a:gd name="connsiteX3" fmla="*/ 0 w 1635382"/>
                <a:gd name="connsiteY3" fmla="*/ 1562881 h 1849045"/>
                <a:gd name="connsiteX4" fmla="*/ 432721 w 1635382"/>
                <a:gd name="connsiteY4" fmla="*/ 1807864 h 1849045"/>
                <a:gd name="connsiteX5" fmla="*/ 1496568 w 1635382"/>
                <a:gd name="connsiteY5" fmla="*/ 1169594 h 1849045"/>
                <a:gd name="connsiteX6" fmla="*/ 1496663 w 1635382"/>
                <a:gd name="connsiteY6" fmla="*/ 679532 h 1849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5382" h="1849045">
                  <a:moveTo>
                    <a:pt x="1496663" y="679532"/>
                  </a:moveTo>
                  <a:lnTo>
                    <a:pt x="432721" y="41167"/>
                  </a:lnTo>
                  <a:cubicBezTo>
                    <a:pt x="242316" y="-73133"/>
                    <a:pt x="0" y="64122"/>
                    <a:pt x="0" y="286245"/>
                  </a:cubicBezTo>
                  <a:lnTo>
                    <a:pt x="0" y="1562881"/>
                  </a:lnTo>
                  <a:cubicBezTo>
                    <a:pt x="0" y="1785004"/>
                    <a:pt x="242316" y="1922164"/>
                    <a:pt x="432721" y="1807864"/>
                  </a:cubicBezTo>
                  <a:lnTo>
                    <a:pt x="1496568" y="1169594"/>
                  </a:lnTo>
                  <a:cubicBezTo>
                    <a:pt x="1681639" y="1058532"/>
                    <a:pt x="1681639" y="790499"/>
                    <a:pt x="1496663" y="679532"/>
                  </a:cubicBezTo>
                  <a:close/>
                </a:path>
              </a:pathLst>
            </a:custGeom>
            <a:gradFill flip="none" rotWithShape="1">
              <a:gsLst>
                <a:gs pos="20000">
                  <a:schemeClr val="accent2">
                    <a:lumMod val="60000"/>
                    <a:lumOff val="40000"/>
                  </a:schemeClr>
                </a:gs>
                <a:gs pos="100000">
                  <a:schemeClr val="accent2">
                    <a:alpha val="96000"/>
                  </a:schemeClr>
                </a:gs>
              </a:gsLst>
              <a:lin ang="2700000" scaled="1"/>
              <a:tileRect/>
            </a:gradFill>
            <a:ln>
              <a:noFill/>
            </a:ln>
            <a:effectLst>
              <a:outerShdw blurRad="254000" dist="127000" dir="5400000" algn="t" rotWithShape="0">
                <a:schemeClr val="accent1">
                  <a:lumMod val="75000"/>
                  <a:alpha val="4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lvl="0" algn="ctr"/>
              <a:endParaRPr lang="zh-CN" altLang="en-US" dirty="0"/>
            </a:p>
          </p:txBody>
        </p:sp>
      </p:grpSp>
      <p:sp>
        <p:nvSpPr>
          <p:cNvPr id="2" name="标题占位符 1"/>
          <p:cNvSpPr>
            <a:spLocks noGrp="1"/>
          </p:cNvSpPr>
          <p:nvPr>
            <p:ph type="title"/>
          </p:nvPr>
        </p:nvSpPr>
        <p:spPr>
          <a:xfrm>
            <a:off x="660400" y="128587"/>
            <a:ext cx="10858500" cy="900112"/>
          </a:xfrm>
          <a:prstGeom prst="rect">
            <a:avLst/>
          </a:prstGeom>
        </p:spPr>
        <p:txBody>
          <a:bodyPr vert="horz" lIns="91440" tIns="45720" rIns="91440" bIns="45720" rtlCol="0" anchor="b">
            <a:normAutofit/>
          </a:bodyPr>
          <a:lstStyle/>
          <a:p>
            <a:pPr lvl="0"/>
            <a:r>
              <a:rPr lang="en-US"/>
              <a:t>Click to add title</a:t>
            </a:r>
            <a:endParaRPr lang="en-US"/>
          </a:p>
        </p:txBody>
      </p:sp>
      <p:sp>
        <p:nvSpPr>
          <p:cNvPr id="3" name="文本占位符 2"/>
          <p:cNvSpPr>
            <a:spLocks noGrp="1"/>
          </p:cNvSpPr>
          <p:nvPr>
            <p:ph type="body" idx="1"/>
          </p:nvPr>
        </p:nvSpPr>
        <p:spPr>
          <a:xfrm>
            <a:off x="660400" y="1130300"/>
            <a:ext cx="10858500" cy="5003800"/>
          </a:xfrm>
          <a:prstGeom prst="rect">
            <a:avLst/>
          </a:prstGeom>
        </p:spPr>
        <p:txBody>
          <a:bodyPr vert="horz" lIns="91440" tIns="45720" rIns="91440" bIns="45720" rtlCol="0">
            <a:normAutofit/>
          </a:bodyPr>
          <a:lstStyle/>
          <a:p>
            <a:pPr lvl="0"/>
            <a:r>
              <a:rPr lang="en-US"/>
              <a:t>Click to add text</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日期占位符 3"/>
          <p:cNvSpPr>
            <a:spLocks noGrp="1"/>
          </p:cNvSpPr>
          <p:nvPr>
            <p:ph type="dt" sz="half" idx="2"/>
          </p:nvPr>
        </p:nvSpPr>
        <p:spPr>
          <a:xfrm>
            <a:off x="4718050" y="6409690"/>
            <a:ext cx="2743200" cy="274320"/>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5" name="页脚占位符 4"/>
          <p:cNvSpPr>
            <a:spLocks noGrp="1"/>
          </p:cNvSpPr>
          <p:nvPr>
            <p:ph type="ftr" sz="quarter" idx="3"/>
          </p:nvPr>
        </p:nvSpPr>
        <p:spPr>
          <a:xfrm>
            <a:off x="660399" y="6409690"/>
            <a:ext cx="3657600" cy="274320"/>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dirty="0"/>
          </a:p>
        </p:txBody>
      </p:sp>
      <p:sp>
        <p:nvSpPr>
          <p:cNvPr id="6" name="灯片编号占位符 5"/>
          <p:cNvSpPr>
            <a:spLocks noGrp="1"/>
          </p:cNvSpPr>
          <p:nvPr>
            <p:ph type="sldNum" sz="quarter" idx="4"/>
          </p:nvPr>
        </p:nvSpPr>
        <p:spPr>
          <a:xfrm>
            <a:off x="7861300" y="6409690"/>
            <a:ext cx="3657600" cy="274320"/>
          </a:xfrm>
          <a:prstGeom prst="rect">
            <a:avLst/>
          </a:prstGeom>
        </p:spPr>
        <p:txBody>
          <a:bodyPr vert="horz" lIns="91440" tIns="45720" rIns="91440" bIns="45720" rtlCol="0" anchor="ctr"/>
          <a:lstStyle>
            <a:lvl1pPr algn="r">
              <a:defRPr sz="1200">
                <a:solidFill>
                  <a:schemeClr val="tx1">
                    <a:tint val="75000"/>
                  </a:schemeClr>
                </a:solidFill>
              </a:defRPr>
            </a:lvl1pPr>
          </a:lstStyle>
          <a:p>
            <a:fld id="{C8BB1146-E542-4D4E-B8E9-6919A11DDD48}" type="slidenum">
              <a:rPr lang="en-US" smtClean="0"/>
            </a:fld>
            <a:endParaRPr lang="en-US"/>
          </a:p>
        </p:txBody>
      </p:sp>
    </p:spTree>
  </p:cSld>
  <p:clrMap bg1="dk1" tx1="lt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Lst>
  <p:txStyles>
    <p:titleStyle>
      <a:lvl1pPr algn="l" defTabSz="914400" rtl="0" eaLnBrk="1" latinLnBrk="0" hangingPunct="1">
        <a:lnSpc>
          <a:spcPct val="100000"/>
        </a:lnSpc>
        <a:spcBef>
          <a:spcPct val="0"/>
        </a:spcBef>
        <a:buNone/>
        <a:defRPr sz="2800" b="1" kern="1200">
          <a:solidFill>
            <a:schemeClr val="tx1"/>
          </a:solidFill>
          <a:latin typeface="+mj-lt"/>
          <a:ea typeface="+mj-ea"/>
          <a:cs typeface="+mj-cs"/>
        </a:defRPr>
      </a:lvl1pPr>
    </p:titleStyle>
    <p:bodyStyle>
      <a:lvl1pPr marL="228600" indent="-228600" algn="l" defTabSz="914400" rtl="0" eaLnBrk="1" latinLnBrk="0" hangingPunct="1">
        <a:lnSpc>
          <a:spcPct val="12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12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12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2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12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4" Type="http://schemas.openxmlformats.org/officeDocument/2006/relationships/vmlDrawing" Target="../drawings/vmlDrawing1.vml"/><Relationship Id="rId3" Type="http://schemas.openxmlformats.org/officeDocument/2006/relationships/slideLayout" Target="../slideLayouts/slideLayout8.xml"/><Relationship Id="rId2" Type="http://schemas.openxmlformats.org/officeDocument/2006/relationships/image" Target="../media/image4.emf"/><Relationship Id="rId1" Type="http://schemas.openxmlformats.org/officeDocument/2006/relationships/oleObject" Target="../embeddings/oleObject1.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ctrTitle" hasCustomPrompt="1"/>
          </p:nvPr>
        </p:nvSpPr>
        <p:spPr>
          <a:xfrm>
            <a:off x="1611862" y="1616513"/>
            <a:ext cx="8955576" cy="1740296"/>
          </a:xfrm>
        </p:spPr>
        <p:txBody>
          <a:bodyPr>
            <a:normAutofit/>
          </a:bodyPr>
          <a:lstStyle/>
          <a:p>
            <a:r>
              <a:rPr lang="en-US" sz="7200" dirty="0"/>
              <a:t>DNS</a:t>
            </a:r>
            <a:endParaRPr lang="en-US" sz="7200" dirty="0"/>
          </a:p>
        </p:txBody>
      </p:sp>
      <p:sp>
        <p:nvSpPr>
          <p:cNvPr id="9" name="副标题 8"/>
          <p:cNvSpPr>
            <a:spLocks noGrp="1"/>
          </p:cNvSpPr>
          <p:nvPr>
            <p:ph type="subTitle" sz="quarter" idx="1" hasCustomPrompt="1"/>
          </p:nvPr>
        </p:nvSpPr>
        <p:spPr>
          <a:xfrm>
            <a:off x="1611862" y="3524195"/>
            <a:ext cx="8955576" cy="697420"/>
          </a:xfrm>
        </p:spPr>
        <p:txBody>
          <a:bodyPr/>
          <a:lstStyle/>
          <a:p>
            <a:r>
              <a:rPr lang="zh-CN" altLang="en-US" b="0" i="0" dirty="0">
                <a:solidFill>
                  <a:schemeClr val="accent6">
                    <a:lumMod val="40000"/>
                    <a:lumOff val="60000"/>
                  </a:schemeClr>
                </a:solidFill>
                <a:effectLst/>
                <a:latin typeface="-apple-system"/>
              </a:rPr>
              <a:t>将域名和</a:t>
            </a:r>
            <a:r>
              <a:rPr lang="en-US" altLang="zh-CN" b="0" i="0" dirty="0">
                <a:solidFill>
                  <a:schemeClr val="accent6">
                    <a:lumMod val="40000"/>
                    <a:lumOff val="60000"/>
                  </a:schemeClr>
                </a:solidFill>
                <a:effectLst/>
                <a:latin typeface="-apple-system"/>
              </a:rPr>
              <a:t>IP</a:t>
            </a:r>
            <a:r>
              <a:rPr lang="zh-CN" altLang="en-US" b="0" i="0" dirty="0">
                <a:solidFill>
                  <a:schemeClr val="accent6">
                    <a:lumMod val="40000"/>
                    <a:lumOff val="60000"/>
                  </a:schemeClr>
                </a:solidFill>
                <a:effectLst/>
                <a:latin typeface="-apple-system"/>
              </a:rPr>
              <a:t>地址相互映射的一个分布式数据库</a:t>
            </a:r>
            <a:endParaRPr lang="en-US" dirty="0">
              <a:solidFill>
                <a:schemeClr val="accent6">
                  <a:lumMod val="40000"/>
                  <a:lumOff val="60000"/>
                </a:schemeClr>
              </a:solidFill>
            </a:endParaRPr>
          </a:p>
        </p:txBody>
      </p:sp>
      <p:sp>
        <p:nvSpPr>
          <p:cNvPr id="4" name="文本占位符 3"/>
          <p:cNvSpPr>
            <a:spLocks noGrp="1"/>
          </p:cNvSpPr>
          <p:nvPr>
            <p:ph type="body" sz="quarter" idx="13" hasCustomPrompt="1"/>
          </p:nvPr>
        </p:nvSpPr>
        <p:spPr>
          <a:xfrm>
            <a:off x="3753969" y="4394030"/>
            <a:ext cx="2160000" cy="360000"/>
          </a:xfrm>
        </p:spPr>
        <p:txBody>
          <a:bodyPr>
            <a:normAutofit/>
          </a:bodyPr>
          <a:lstStyle/>
          <a:p>
            <a:r>
              <a:rPr lang="zh-CN" altLang="en-US" dirty="0"/>
              <a:t>孙明哲</a:t>
            </a:r>
            <a:endParaRPr lang="en-US" dirty="0"/>
          </a:p>
        </p:txBody>
      </p:sp>
      <p:sp>
        <p:nvSpPr>
          <p:cNvPr id="7" name="文本占位符 6"/>
          <p:cNvSpPr>
            <a:spLocks noGrp="1"/>
          </p:cNvSpPr>
          <p:nvPr>
            <p:ph type="body" sz="quarter" idx="14" hasCustomPrompt="1"/>
          </p:nvPr>
        </p:nvSpPr>
        <p:spPr>
          <a:xfrm>
            <a:off x="6265331" y="4394030"/>
            <a:ext cx="2160000" cy="360000"/>
          </a:xfrm>
        </p:spPr>
        <p:txBody>
          <a:bodyPr>
            <a:normAutofit/>
          </a:bodyPr>
          <a:lstStyle/>
          <a:p>
            <a:r>
              <a:rPr lang="zh-CN" altLang="en-US" dirty="0"/>
              <a:t>宋康乐</a:t>
            </a:r>
            <a:endParaRPr lang="en-US" dirty="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p:cNvSpPr txBox="1"/>
          <p:nvPr/>
        </p:nvSpPr>
        <p:spPr>
          <a:xfrm>
            <a:off x="2013358" y="2642532"/>
            <a:ext cx="8221211" cy="1030026"/>
          </a:xfrm>
          <a:prstGeom prst="rect">
            <a:avLst/>
          </a:prstGeom>
          <a:noFill/>
        </p:spPr>
        <p:txBody>
          <a:bodyPr wrap="square" rtlCol="0">
            <a:spAutoFit/>
          </a:bodyPr>
          <a:lstStyle/>
          <a:p>
            <a:pPr>
              <a:lnSpc>
                <a:spcPct val="115000"/>
              </a:lnSpc>
              <a:spcAft>
                <a:spcPts val="800"/>
              </a:spcAft>
            </a:pPr>
            <a:r>
              <a:rPr lang="en-US" altLang="zh-CN" sz="1800" kern="100" dirty="0">
                <a:solidFill>
                  <a:srgbClr val="FFFF00"/>
                </a:solidFill>
                <a:effectLst/>
                <a:latin typeface="等线" panose="02010600030101010101" pitchFamily="2" charset="-122"/>
                <a:ea typeface="等线" panose="02010600030101010101" pitchFamily="2" charset="-122"/>
                <a:cs typeface="Times New Roman" panose="02020603050405020304" pitchFamily="18" charset="0"/>
              </a:rPr>
              <a:t>DNS</a:t>
            </a:r>
            <a:r>
              <a:rPr lang="zh-CN" altLang="en-US" sz="1800" kern="100" dirty="0">
                <a:solidFill>
                  <a:srgbClr val="FFFF00"/>
                </a:solidFill>
                <a:effectLst/>
                <a:latin typeface="等线" panose="02010600030101010101" pitchFamily="2" charset="-122"/>
                <a:ea typeface="等线" panose="02010600030101010101" pitchFamily="2" charset="-122"/>
                <a:cs typeface="Times New Roman" panose="02020603050405020304" pitchFamily="18" charset="0"/>
              </a:rPr>
              <a:t>（</a:t>
            </a:r>
            <a:r>
              <a:rPr lang="en-US" altLang="zh-CN" sz="1800" kern="100" dirty="0">
                <a:solidFill>
                  <a:srgbClr val="FFFF00"/>
                </a:solidFill>
                <a:effectLst/>
                <a:latin typeface="等线" panose="02010600030101010101" pitchFamily="2" charset="-122"/>
                <a:ea typeface="等线" panose="02010600030101010101" pitchFamily="2" charset="-122"/>
                <a:cs typeface="Times New Roman" panose="02020603050405020304" pitchFamily="18" charset="0"/>
              </a:rPr>
              <a:t>Domain Name Server</a:t>
            </a:r>
            <a:r>
              <a:rPr lang="zh-CN" altLang="en-US" sz="1800" kern="100" dirty="0">
                <a:solidFill>
                  <a:srgbClr val="FFFF00"/>
                </a:solidFill>
                <a:effectLst/>
                <a:latin typeface="等线" panose="02010600030101010101" pitchFamily="2" charset="-122"/>
                <a:ea typeface="等线" panose="02010600030101010101" pitchFamily="2" charset="-122"/>
                <a:cs typeface="Times New Roman" panose="02020603050405020304" pitchFamily="18" charset="0"/>
              </a:rPr>
              <a:t>，域名服务器）</a:t>
            </a:r>
            <a:r>
              <a:rPr lang="zh-CN" altLang="en-US" sz="1800" kern="100" dirty="0">
                <a:effectLst/>
                <a:latin typeface="等线" panose="02010600030101010101" pitchFamily="2" charset="-122"/>
                <a:ea typeface="等线" panose="02010600030101010101" pitchFamily="2" charset="-122"/>
                <a:cs typeface="Times New Roman" panose="02020603050405020304" pitchFamily="18" charset="0"/>
              </a:rPr>
              <a:t>是进行</a:t>
            </a:r>
            <a:r>
              <a:rPr lang="zh-CN" altLang="en-US" sz="1800" kern="100" dirty="0">
                <a:solidFill>
                  <a:srgbClr val="FFFF00"/>
                </a:solidFill>
                <a:effectLst/>
                <a:latin typeface="等线" panose="02010600030101010101" pitchFamily="2" charset="-122"/>
                <a:ea typeface="等线" panose="02010600030101010101" pitchFamily="2" charset="-122"/>
                <a:cs typeface="Times New Roman" panose="02020603050405020304" pitchFamily="18" charset="0"/>
              </a:rPr>
              <a:t>域名</a:t>
            </a:r>
            <a:r>
              <a:rPr lang="en-US" altLang="zh-CN" sz="1800" kern="100" dirty="0">
                <a:solidFill>
                  <a:srgbClr val="FFFF00"/>
                </a:solidFill>
                <a:effectLst/>
                <a:latin typeface="等线" panose="02010600030101010101" pitchFamily="2" charset="-122"/>
                <a:ea typeface="等线" panose="02010600030101010101" pitchFamily="2" charset="-122"/>
                <a:cs typeface="Times New Roman" panose="02020603050405020304" pitchFamily="18" charset="0"/>
              </a:rPr>
              <a:t>(domain name)</a:t>
            </a:r>
            <a:r>
              <a:rPr lang="zh-CN" altLang="en-US" sz="1800" kern="100" dirty="0">
                <a:effectLst/>
                <a:latin typeface="等线" panose="02010600030101010101" pitchFamily="2" charset="-122"/>
                <a:ea typeface="等线" panose="02010600030101010101" pitchFamily="2" charset="-122"/>
                <a:cs typeface="Times New Roman" panose="02020603050405020304" pitchFamily="18" charset="0"/>
              </a:rPr>
              <a:t>和与之相对应的</a:t>
            </a:r>
            <a:r>
              <a:rPr lang="en-US" altLang="zh-CN" sz="1800" kern="100" dirty="0">
                <a:solidFill>
                  <a:srgbClr val="FFFF00"/>
                </a:solidFill>
                <a:effectLst/>
                <a:latin typeface="等线" panose="02010600030101010101" pitchFamily="2" charset="-122"/>
                <a:ea typeface="等线" panose="02010600030101010101" pitchFamily="2" charset="-122"/>
                <a:cs typeface="Times New Roman" panose="02020603050405020304" pitchFamily="18" charset="0"/>
              </a:rPr>
              <a:t>IP</a:t>
            </a:r>
            <a:r>
              <a:rPr lang="zh-CN" altLang="en-US" sz="1800" kern="100" dirty="0">
                <a:solidFill>
                  <a:srgbClr val="FFFF00"/>
                </a:solidFill>
                <a:effectLst/>
                <a:latin typeface="等线" panose="02010600030101010101" pitchFamily="2" charset="-122"/>
                <a:ea typeface="等线" panose="02010600030101010101" pitchFamily="2" charset="-122"/>
                <a:cs typeface="Times New Roman" panose="02020603050405020304" pitchFamily="18" charset="0"/>
              </a:rPr>
              <a:t>地址 </a:t>
            </a:r>
            <a:r>
              <a:rPr lang="en-US" altLang="zh-CN" sz="1800" kern="100" dirty="0">
                <a:solidFill>
                  <a:srgbClr val="FFFF00"/>
                </a:solidFill>
                <a:effectLst/>
                <a:latin typeface="等线" panose="02010600030101010101" pitchFamily="2" charset="-122"/>
                <a:ea typeface="等线" panose="02010600030101010101" pitchFamily="2" charset="-122"/>
                <a:cs typeface="Times New Roman" panose="02020603050405020304" pitchFamily="18" charset="0"/>
              </a:rPr>
              <a:t>(IP address)</a:t>
            </a:r>
            <a:r>
              <a:rPr lang="zh-CN" altLang="en-US" sz="1800" kern="100" dirty="0">
                <a:effectLst/>
                <a:latin typeface="等线" panose="02010600030101010101" pitchFamily="2" charset="-122"/>
                <a:ea typeface="等线" panose="02010600030101010101" pitchFamily="2" charset="-122"/>
                <a:cs typeface="Times New Roman" panose="02020603050405020304" pitchFamily="18" charset="0"/>
              </a:rPr>
              <a:t>转换的服务器。</a:t>
            </a:r>
            <a:r>
              <a:rPr lang="en-US" altLang="zh-CN" sz="1800" kern="100" dirty="0">
                <a:effectLst/>
                <a:latin typeface="等线" panose="02010600030101010101" pitchFamily="2" charset="-122"/>
                <a:ea typeface="等线" panose="02010600030101010101" pitchFamily="2" charset="-122"/>
                <a:cs typeface="Times New Roman" panose="02020603050405020304" pitchFamily="18" charset="0"/>
              </a:rPr>
              <a:t>DNS</a:t>
            </a:r>
            <a:r>
              <a:rPr lang="zh-CN" altLang="en-US" sz="1800" kern="100" dirty="0">
                <a:effectLst/>
                <a:latin typeface="等线" panose="02010600030101010101" pitchFamily="2" charset="-122"/>
                <a:ea typeface="等线" panose="02010600030101010101" pitchFamily="2" charset="-122"/>
                <a:cs typeface="Times New Roman" panose="02020603050405020304" pitchFamily="18" charset="0"/>
              </a:rPr>
              <a:t>中保存了一张</a:t>
            </a:r>
            <a:r>
              <a:rPr lang="zh-CN" altLang="en-US" sz="1800" kern="100" dirty="0">
                <a:solidFill>
                  <a:srgbClr val="FFFF00"/>
                </a:solidFill>
                <a:effectLst/>
                <a:latin typeface="等线" panose="02010600030101010101" pitchFamily="2" charset="-122"/>
                <a:ea typeface="等线" panose="02010600030101010101" pitchFamily="2" charset="-122"/>
                <a:cs typeface="Times New Roman" panose="02020603050405020304" pitchFamily="18" charset="0"/>
              </a:rPr>
              <a:t>域名</a:t>
            </a:r>
            <a:r>
              <a:rPr lang="en-US" altLang="zh-CN" sz="1800" kern="100" dirty="0">
                <a:solidFill>
                  <a:srgbClr val="FFFF00"/>
                </a:solidFill>
                <a:effectLst/>
                <a:latin typeface="等线" panose="02010600030101010101" pitchFamily="2" charset="-122"/>
                <a:ea typeface="等线" panose="02010600030101010101" pitchFamily="2" charset="-122"/>
                <a:cs typeface="Times New Roman" panose="02020603050405020304" pitchFamily="18" charset="0"/>
              </a:rPr>
              <a:t>(domain name)</a:t>
            </a:r>
            <a:r>
              <a:rPr lang="zh-CN" altLang="en-US" sz="1800" kern="100" dirty="0">
                <a:effectLst/>
                <a:latin typeface="等线" panose="02010600030101010101" pitchFamily="2" charset="-122"/>
                <a:ea typeface="等线" panose="02010600030101010101" pitchFamily="2" charset="-122"/>
                <a:cs typeface="Times New Roman" panose="02020603050405020304" pitchFamily="18" charset="0"/>
              </a:rPr>
              <a:t>和与之相对应的</a:t>
            </a:r>
            <a:r>
              <a:rPr lang="en-US" altLang="zh-CN" sz="1800" kern="100" dirty="0">
                <a:solidFill>
                  <a:srgbClr val="FFFF00"/>
                </a:solidFill>
                <a:effectLst/>
                <a:latin typeface="等线" panose="02010600030101010101" pitchFamily="2" charset="-122"/>
                <a:ea typeface="等线" panose="02010600030101010101" pitchFamily="2" charset="-122"/>
                <a:cs typeface="Times New Roman" panose="02020603050405020304" pitchFamily="18" charset="0"/>
              </a:rPr>
              <a:t>IP</a:t>
            </a:r>
            <a:r>
              <a:rPr lang="zh-CN" altLang="en-US" sz="1800" kern="100" dirty="0">
                <a:solidFill>
                  <a:srgbClr val="FFFF00"/>
                </a:solidFill>
                <a:effectLst/>
                <a:latin typeface="等线" panose="02010600030101010101" pitchFamily="2" charset="-122"/>
                <a:ea typeface="等线" panose="02010600030101010101" pitchFamily="2" charset="-122"/>
                <a:cs typeface="Times New Roman" panose="02020603050405020304" pitchFamily="18" charset="0"/>
              </a:rPr>
              <a:t>地址 </a:t>
            </a:r>
            <a:r>
              <a:rPr lang="en-US" altLang="zh-CN" sz="1800" kern="100" dirty="0">
                <a:solidFill>
                  <a:srgbClr val="FFFF00"/>
                </a:solidFill>
                <a:effectLst/>
                <a:latin typeface="等线" panose="02010600030101010101" pitchFamily="2" charset="-122"/>
                <a:ea typeface="等线" panose="02010600030101010101" pitchFamily="2" charset="-122"/>
                <a:cs typeface="Times New Roman" panose="02020603050405020304" pitchFamily="18" charset="0"/>
              </a:rPr>
              <a:t>(IP address)</a:t>
            </a:r>
            <a:r>
              <a:rPr lang="zh-CN" altLang="en-US" sz="1800" kern="100" dirty="0">
                <a:effectLst/>
                <a:latin typeface="等线" panose="02010600030101010101" pitchFamily="2" charset="-122"/>
                <a:ea typeface="等线" panose="02010600030101010101" pitchFamily="2" charset="-122"/>
                <a:cs typeface="Times New Roman" panose="02020603050405020304" pitchFamily="18" charset="0"/>
              </a:rPr>
              <a:t>的表，以解析消息的域名。</a:t>
            </a:r>
            <a:endParaRPr lang="zh-CN" altLang="en-US" sz="1800" kern="100" dirty="0">
              <a:effectLst/>
              <a:latin typeface="等线" panose="02010600030101010101" pitchFamily="2" charset="-122"/>
              <a:ea typeface="等线" panose="02010600030101010101" pitchFamily="2" charset="-122"/>
              <a:cs typeface="Times New Roman" panose="02020603050405020304" pitchFamily="18" charset="0"/>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文本框 46"/>
          <p:cNvSpPr txBox="1"/>
          <p:nvPr/>
        </p:nvSpPr>
        <p:spPr>
          <a:xfrm>
            <a:off x="838899" y="729842"/>
            <a:ext cx="9345336" cy="1200329"/>
          </a:xfrm>
          <a:prstGeom prst="rect">
            <a:avLst/>
          </a:prstGeom>
          <a:noFill/>
        </p:spPr>
        <p:txBody>
          <a:bodyPr wrap="square" rtlCol="0">
            <a:spAutoFit/>
          </a:bodyPr>
          <a:lstStyle/>
          <a:p>
            <a:r>
              <a:rPr lang="en-US" altLang="zh-CN" sz="1800" kern="100" dirty="0">
                <a:solidFill>
                  <a:srgbClr val="FFFF00"/>
                </a:solidFill>
                <a:effectLst/>
                <a:latin typeface="等线" panose="02010600030101010101" pitchFamily="2" charset="-122"/>
                <a:ea typeface="等线" panose="02010600030101010101" pitchFamily="2" charset="-122"/>
                <a:cs typeface="Times New Roman" panose="02020603050405020304" pitchFamily="18" charset="0"/>
              </a:rPr>
              <a:t>IP</a:t>
            </a:r>
            <a:r>
              <a:rPr lang="zh-CN" altLang="en-US" sz="1800" kern="100" dirty="0">
                <a:solidFill>
                  <a:srgbClr val="FFFF00"/>
                </a:solidFill>
                <a:effectLst/>
                <a:latin typeface="等线" panose="02010600030101010101" pitchFamily="2" charset="-122"/>
                <a:ea typeface="等线" panose="02010600030101010101" pitchFamily="2" charset="-122"/>
                <a:cs typeface="Times New Roman" panose="02020603050405020304" pitchFamily="18" charset="0"/>
              </a:rPr>
              <a:t>地址</a:t>
            </a:r>
            <a:r>
              <a:rPr lang="zh-CN" altLang="en-US" sz="1800" kern="100" dirty="0">
                <a:effectLst/>
                <a:latin typeface="等线" panose="02010600030101010101" pitchFamily="2" charset="-122"/>
                <a:ea typeface="等线" panose="02010600030101010101" pitchFamily="2" charset="-122"/>
                <a:cs typeface="Times New Roman" panose="02020603050405020304" pitchFamily="18" charset="0"/>
              </a:rPr>
              <a:t>（</a:t>
            </a:r>
            <a:r>
              <a:rPr lang="en-US" altLang="zh-CN" sz="1800" kern="100" dirty="0">
                <a:effectLst/>
                <a:latin typeface="等线" panose="02010600030101010101" pitchFamily="2" charset="-122"/>
                <a:ea typeface="等线" panose="02010600030101010101" pitchFamily="2" charset="-122"/>
                <a:cs typeface="Times New Roman" panose="02020603050405020304" pitchFamily="18" charset="0"/>
              </a:rPr>
              <a:t>Internet Protocol Address</a:t>
            </a:r>
            <a:r>
              <a:rPr lang="zh-CN" altLang="en-US" sz="1800" kern="100" dirty="0">
                <a:effectLst/>
                <a:latin typeface="等线" panose="02010600030101010101" pitchFamily="2" charset="-122"/>
                <a:ea typeface="等线" panose="02010600030101010101" pitchFamily="2" charset="-122"/>
                <a:cs typeface="Times New Roman" panose="02020603050405020304" pitchFamily="18" charset="0"/>
              </a:rPr>
              <a:t>）是指</a:t>
            </a:r>
            <a:r>
              <a:rPr lang="zh-CN" altLang="en-US" sz="1800" kern="100" dirty="0">
                <a:solidFill>
                  <a:srgbClr val="FFFF00"/>
                </a:solidFill>
                <a:effectLst/>
                <a:latin typeface="等线" panose="02010600030101010101" pitchFamily="2" charset="-122"/>
                <a:ea typeface="等线" panose="02010600030101010101" pitchFamily="2" charset="-122"/>
                <a:cs typeface="Times New Roman" panose="02020603050405020304" pitchFamily="18" charset="0"/>
              </a:rPr>
              <a:t>互联网协议地址</a:t>
            </a:r>
            <a:r>
              <a:rPr lang="zh-CN" altLang="en-US" sz="1800" kern="100" dirty="0">
                <a:effectLst/>
                <a:latin typeface="等线" panose="02010600030101010101" pitchFamily="2" charset="-122"/>
                <a:ea typeface="等线" panose="02010600030101010101" pitchFamily="2" charset="-122"/>
                <a:cs typeface="Times New Roman" panose="02020603050405020304" pitchFamily="18" charset="0"/>
              </a:rPr>
              <a:t>，又译为网际协议地址。</a:t>
            </a:r>
            <a:r>
              <a:rPr lang="en-US" altLang="zh-CN" sz="1800" kern="100" dirty="0">
                <a:effectLst/>
                <a:latin typeface="等线" panose="02010600030101010101" pitchFamily="2" charset="-122"/>
                <a:ea typeface="等线" panose="02010600030101010101" pitchFamily="2" charset="-122"/>
                <a:cs typeface="Times New Roman" panose="02020603050405020304" pitchFamily="18" charset="0"/>
              </a:rPr>
              <a:t>IP</a:t>
            </a:r>
            <a:r>
              <a:rPr lang="zh-CN" altLang="en-US" sz="1800" kern="100" dirty="0">
                <a:effectLst/>
                <a:latin typeface="等线" panose="02010600030101010101" pitchFamily="2" charset="-122"/>
                <a:ea typeface="等线" panose="02010600030101010101" pitchFamily="2" charset="-122"/>
                <a:cs typeface="Times New Roman" panose="02020603050405020304" pitchFamily="18" charset="0"/>
              </a:rPr>
              <a:t>地址是</a:t>
            </a:r>
            <a:r>
              <a:rPr lang="en-US" altLang="zh-CN" sz="1800" kern="100" dirty="0">
                <a:effectLst/>
                <a:latin typeface="等线" panose="02010600030101010101" pitchFamily="2" charset="-122"/>
                <a:ea typeface="等线" panose="02010600030101010101" pitchFamily="2" charset="-122"/>
                <a:cs typeface="Times New Roman" panose="02020603050405020304" pitchFamily="18" charset="0"/>
              </a:rPr>
              <a:t>IP</a:t>
            </a:r>
            <a:r>
              <a:rPr lang="zh-CN" altLang="en-US" sz="1800" kern="100" dirty="0">
                <a:effectLst/>
                <a:latin typeface="等线" panose="02010600030101010101" pitchFamily="2" charset="-122"/>
                <a:ea typeface="等线" panose="02010600030101010101" pitchFamily="2" charset="-122"/>
                <a:cs typeface="Times New Roman" panose="02020603050405020304" pitchFamily="18" charset="0"/>
              </a:rPr>
              <a:t>协议提供的一种统一的地址格式，它为互联网上的每一个网络和每一台主机分配一个逻辑地址，以此来屏蔽物理地址的差异。</a:t>
            </a:r>
            <a:endParaRPr lang="zh-CN" altLang="en-US" sz="1800" kern="100" dirty="0">
              <a:effectLst/>
              <a:latin typeface="等线" panose="02010600030101010101" pitchFamily="2" charset="-122"/>
              <a:ea typeface="等线" panose="02010600030101010101" pitchFamily="2" charset="-122"/>
              <a:cs typeface="Times New Roman" panose="02020603050405020304" pitchFamily="18" charset="0"/>
            </a:endParaRPr>
          </a:p>
          <a:p>
            <a:endParaRPr lang="zh-CN" altLang="en-US" dirty="0"/>
          </a:p>
        </p:txBody>
      </p:sp>
      <p:sp>
        <p:nvSpPr>
          <p:cNvPr id="49" name="文本框 48"/>
          <p:cNvSpPr txBox="1"/>
          <p:nvPr/>
        </p:nvSpPr>
        <p:spPr>
          <a:xfrm>
            <a:off x="838899" y="2409228"/>
            <a:ext cx="9345336" cy="711477"/>
          </a:xfrm>
          <a:prstGeom prst="rect">
            <a:avLst/>
          </a:prstGeom>
          <a:noFill/>
        </p:spPr>
        <p:txBody>
          <a:bodyPr wrap="square" rtlCol="0">
            <a:spAutoFit/>
          </a:bodyPr>
          <a:lstStyle/>
          <a:p>
            <a:pPr>
              <a:lnSpc>
                <a:spcPct val="115000"/>
              </a:lnSpc>
              <a:spcAft>
                <a:spcPts val="800"/>
              </a:spcAft>
            </a:pPr>
            <a:r>
              <a:rPr lang="zh-CN" altLang="en-US" sz="1800" kern="100" dirty="0">
                <a:solidFill>
                  <a:srgbClr val="FFFF00"/>
                </a:solidFill>
                <a:effectLst/>
                <a:latin typeface="等线" panose="02010600030101010101" pitchFamily="2" charset="-122"/>
                <a:ea typeface="等线" panose="02010600030101010101" pitchFamily="2" charset="-122"/>
                <a:cs typeface="Times New Roman" panose="02020603050405020304" pitchFamily="18" charset="0"/>
              </a:rPr>
              <a:t>域名</a:t>
            </a:r>
            <a:r>
              <a:rPr lang="zh-CN" altLang="en-US" sz="1800" kern="100" dirty="0">
                <a:effectLst/>
                <a:latin typeface="等线" panose="02010600030101010101" pitchFamily="2" charset="-122"/>
                <a:ea typeface="等线" panose="02010600030101010101" pitchFamily="2" charset="-122"/>
                <a:cs typeface="Times New Roman" panose="02020603050405020304" pitchFamily="18" charset="0"/>
              </a:rPr>
              <a:t>（英语：</a:t>
            </a:r>
            <a:r>
              <a:rPr lang="en-US" altLang="zh-CN" sz="1800" kern="100" dirty="0">
                <a:effectLst/>
                <a:latin typeface="等线" panose="02010600030101010101" pitchFamily="2" charset="-122"/>
                <a:ea typeface="等线" panose="02010600030101010101" pitchFamily="2" charset="-122"/>
                <a:cs typeface="Times New Roman" panose="02020603050405020304" pitchFamily="18" charset="0"/>
              </a:rPr>
              <a:t>Domain Name</a:t>
            </a:r>
            <a:r>
              <a:rPr lang="zh-CN" altLang="en-US" sz="1800" kern="100" dirty="0">
                <a:effectLst/>
                <a:latin typeface="等线" panose="02010600030101010101" pitchFamily="2" charset="-122"/>
                <a:ea typeface="等线" panose="02010600030101010101" pitchFamily="2" charset="-122"/>
                <a:cs typeface="Times New Roman" panose="02020603050405020304" pitchFamily="18" charset="0"/>
              </a:rPr>
              <a:t>），又称网域，是由一串用点分隔的名字组成的互联网上某一台计算机或计算机组的名称，</a:t>
            </a:r>
            <a:r>
              <a:rPr lang="zh-CN" altLang="en-US" sz="1800" kern="100" dirty="0">
                <a:solidFill>
                  <a:srgbClr val="FFFF00"/>
                </a:solidFill>
                <a:effectLst/>
                <a:latin typeface="等线" panose="02010600030101010101" pitchFamily="2" charset="-122"/>
                <a:ea typeface="等线" panose="02010600030101010101" pitchFamily="2" charset="-122"/>
                <a:cs typeface="Times New Roman" panose="02020603050405020304" pitchFamily="18" charset="0"/>
              </a:rPr>
              <a:t>用于在数据传输时对计算机的定位标识</a:t>
            </a:r>
            <a:r>
              <a:rPr lang="zh-CN" altLang="en-US" sz="1800" kern="100" dirty="0">
                <a:effectLst/>
                <a:latin typeface="等线" panose="02010600030101010101" pitchFamily="2" charset="-122"/>
                <a:ea typeface="等线" panose="02010600030101010101" pitchFamily="2" charset="-122"/>
                <a:cs typeface="Times New Roman" panose="02020603050405020304" pitchFamily="18" charset="0"/>
              </a:rPr>
              <a:t>（有时也指地理位置）。</a:t>
            </a:r>
            <a:endParaRPr lang="zh-CN" altLang="en-US" sz="1800" kern="100" dirty="0">
              <a:effectLst/>
              <a:latin typeface="等线" panose="02010600030101010101" pitchFamily="2" charset="-122"/>
              <a:ea typeface="等线" panose="02010600030101010101" pitchFamily="2" charset="-122"/>
              <a:cs typeface="Times New Roman" panose="02020603050405020304" pitchFamily="18" charset="0"/>
            </a:endParaRPr>
          </a:p>
        </p:txBody>
      </p:sp>
      <p:sp>
        <p:nvSpPr>
          <p:cNvPr id="50" name="文本框 49"/>
          <p:cNvSpPr txBox="1"/>
          <p:nvPr/>
        </p:nvSpPr>
        <p:spPr>
          <a:xfrm>
            <a:off x="838899" y="3926048"/>
            <a:ext cx="8967831" cy="1030026"/>
          </a:xfrm>
          <a:prstGeom prst="rect">
            <a:avLst/>
          </a:prstGeom>
          <a:noFill/>
        </p:spPr>
        <p:txBody>
          <a:bodyPr wrap="square" rtlCol="0">
            <a:spAutoFit/>
          </a:bodyPr>
          <a:lstStyle/>
          <a:p>
            <a:pPr>
              <a:lnSpc>
                <a:spcPct val="115000"/>
              </a:lnSpc>
              <a:spcAft>
                <a:spcPts val="800"/>
              </a:spcAft>
            </a:pPr>
            <a:r>
              <a:rPr lang="zh-CN" altLang="en-US" sz="1800" kern="100" dirty="0">
                <a:effectLst/>
                <a:latin typeface="等线" panose="02010600030101010101" pitchFamily="2" charset="-122"/>
                <a:ea typeface="等线" panose="02010600030101010101" pitchFamily="2" charset="-122"/>
                <a:cs typeface="Times New Roman" panose="02020603050405020304" pitchFamily="18" charset="0"/>
              </a:rPr>
              <a:t>由于</a:t>
            </a:r>
            <a:r>
              <a:rPr lang="en-US" altLang="zh-CN" sz="1800" kern="100" dirty="0">
                <a:effectLst/>
                <a:latin typeface="等线" panose="02010600030101010101" pitchFamily="2" charset="-122"/>
                <a:ea typeface="等线" panose="02010600030101010101" pitchFamily="2" charset="-122"/>
                <a:cs typeface="Times New Roman" panose="02020603050405020304" pitchFamily="18" charset="0"/>
              </a:rPr>
              <a:t>IP</a:t>
            </a:r>
            <a:r>
              <a:rPr lang="zh-CN" altLang="en-US" sz="1800" kern="100" dirty="0">
                <a:effectLst/>
                <a:latin typeface="等线" panose="02010600030101010101" pitchFamily="2" charset="-122"/>
                <a:ea typeface="等线" panose="02010600030101010101" pitchFamily="2" charset="-122"/>
                <a:cs typeface="Times New Roman" panose="02020603050405020304" pitchFamily="18" charset="0"/>
              </a:rPr>
              <a:t>地址不方便记忆并且不能显示地址组织的名称和性质，人们设计出了域名，通过</a:t>
            </a:r>
            <a:r>
              <a:rPr lang="zh-CN" altLang="en-US" sz="1800" kern="100" dirty="0">
                <a:solidFill>
                  <a:srgbClr val="FFFF00"/>
                </a:solidFill>
                <a:effectLst/>
                <a:latin typeface="等线" panose="02010600030101010101" pitchFamily="2" charset="-122"/>
                <a:ea typeface="等线" panose="02010600030101010101" pitchFamily="2" charset="-122"/>
                <a:cs typeface="Times New Roman" panose="02020603050405020304" pitchFamily="18" charset="0"/>
              </a:rPr>
              <a:t>域名系统</a:t>
            </a:r>
            <a:r>
              <a:rPr lang="zh-CN" altLang="en-US" sz="1800" kern="100" dirty="0">
                <a:effectLst/>
                <a:latin typeface="等线" panose="02010600030101010101" pitchFamily="2" charset="-122"/>
                <a:ea typeface="等线" panose="02010600030101010101" pitchFamily="2" charset="-122"/>
                <a:cs typeface="Times New Roman" panose="02020603050405020304" pitchFamily="18" charset="0"/>
              </a:rPr>
              <a:t>（</a:t>
            </a:r>
            <a:r>
              <a:rPr lang="en-US" altLang="zh-CN" sz="1800" kern="100" dirty="0">
                <a:effectLst/>
                <a:latin typeface="等线" panose="02010600030101010101" pitchFamily="2" charset="-122"/>
                <a:ea typeface="等线" panose="02010600030101010101" pitchFamily="2" charset="-122"/>
                <a:cs typeface="Times New Roman" panose="02020603050405020304" pitchFamily="18" charset="0"/>
              </a:rPr>
              <a:t>DNS</a:t>
            </a:r>
            <a:r>
              <a:rPr lang="zh-CN" altLang="en-US" sz="1800" kern="100" dirty="0">
                <a:effectLst/>
                <a:latin typeface="等线" panose="02010600030101010101" pitchFamily="2" charset="-122"/>
                <a:ea typeface="等线" panose="02010600030101010101" pitchFamily="2" charset="-122"/>
                <a:cs typeface="Times New Roman" panose="02020603050405020304" pitchFamily="18" charset="0"/>
              </a:rPr>
              <a:t>，</a:t>
            </a:r>
            <a:r>
              <a:rPr lang="en-US" altLang="zh-CN" sz="1800" kern="100" dirty="0">
                <a:effectLst/>
                <a:latin typeface="等线" panose="02010600030101010101" pitchFamily="2" charset="-122"/>
                <a:ea typeface="等线" panose="02010600030101010101" pitchFamily="2" charset="-122"/>
                <a:cs typeface="Times New Roman" panose="02020603050405020304" pitchFamily="18" charset="0"/>
              </a:rPr>
              <a:t>Domain Name System</a:t>
            </a:r>
            <a:r>
              <a:rPr lang="zh-CN" altLang="en-US" sz="1800" kern="100" dirty="0">
                <a:effectLst/>
                <a:latin typeface="等线" panose="02010600030101010101" pitchFamily="2" charset="-122"/>
                <a:ea typeface="等线" panose="02010600030101010101" pitchFamily="2" charset="-122"/>
                <a:cs typeface="Times New Roman" panose="02020603050405020304" pitchFamily="18" charset="0"/>
              </a:rPr>
              <a:t>）来将域名和</a:t>
            </a:r>
            <a:r>
              <a:rPr lang="en-US" altLang="zh-CN" sz="1800" kern="100" dirty="0">
                <a:effectLst/>
                <a:latin typeface="等线" panose="02010600030101010101" pitchFamily="2" charset="-122"/>
                <a:ea typeface="等线" panose="02010600030101010101" pitchFamily="2" charset="-122"/>
                <a:cs typeface="Times New Roman" panose="02020603050405020304" pitchFamily="18" charset="0"/>
              </a:rPr>
              <a:t>IP</a:t>
            </a:r>
            <a:r>
              <a:rPr lang="zh-CN" altLang="en-US" sz="1800" kern="100" dirty="0">
                <a:effectLst/>
                <a:latin typeface="等线" panose="02010600030101010101" pitchFamily="2" charset="-122"/>
                <a:ea typeface="等线" panose="02010600030101010101" pitchFamily="2" charset="-122"/>
                <a:cs typeface="Times New Roman" panose="02020603050405020304" pitchFamily="18" charset="0"/>
              </a:rPr>
              <a:t>地址相互映射，使人更方便地访问互联网，而不用去记住能够被机器直接读取的</a:t>
            </a:r>
            <a:r>
              <a:rPr lang="en-US" altLang="zh-CN" sz="1800" kern="100" dirty="0">
                <a:effectLst/>
                <a:latin typeface="等线" panose="02010600030101010101" pitchFamily="2" charset="-122"/>
                <a:ea typeface="等线" panose="02010600030101010101" pitchFamily="2" charset="-122"/>
                <a:cs typeface="Times New Roman" panose="02020603050405020304" pitchFamily="18" charset="0"/>
              </a:rPr>
              <a:t>IP</a:t>
            </a:r>
            <a:r>
              <a:rPr lang="zh-CN" altLang="en-US" sz="1800" kern="100" dirty="0">
                <a:effectLst/>
                <a:latin typeface="等线" panose="02010600030101010101" pitchFamily="2" charset="-122"/>
                <a:ea typeface="等线" panose="02010600030101010101" pitchFamily="2" charset="-122"/>
                <a:cs typeface="Times New Roman" panose="02020603050405020304" pitchFamily="18" charset="0"/>
              </a:rPr>
              <a:t>地址数串。</a:t>
            </a:r>
            <a:endParaRPr lang="zh-CN" altLang="en-US" sz="1800" kern="100" dirty="0">
              <a:effectLst/>
              <a:latin typeface="等线" panose="02010600030101010101" pitchFamily="2" charset="-122"/>
              <a:ea typeface="等线" panose="02010600030101010101" pitchFamily="2" charset="-122"/>
              <a:cs typeface="Times New Roman" panose="02020603050405020304" pitchFamily="18" charset="0"/>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hasCustomPrompt="1"/>
          </p:nvPr>
        </p:nvSpPr>
        <p:spPr>
          <a:xfrm>
            <a:off x="2051169" y="2084791"/>
            <a:ext cx="8076962" cy="1380758"/>
          </a:xfrm>
        </p:spPr>
        <p:txBody>
          <a:bodyPr/>
          <a:lstStyle/>
          <a:p>
            <a:r>
              <a:rPr lang="en-US" dirty="0"/>
              <a:t>DNS</a:t>
            </a:r>
            <a:r>
              <a:rPr lang="zh-CN" altLang="en-US" dirty="0"/>
              <a:t>的发展</a:t>
            </a:r>
            <a:endParaRPr lang="en-US" dirty="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p:cNvSpPr txBox="1"/>
          <p:nvPr/>
        </p:nvSpPr>
        <p:spPr>
          <a:xfrm>
            <a:off x="1191237" y="1853967"/>
            <a:ext cx="10108734" cy="2725361"/>
          </a:xfrm>
          <a:prstGeom prst="rect">
            <a:avLst/>
          </a:prstGeom>
          <a:noFill/>
        </p:spPr>
        <p:txBody>
          <a:bodyPr wrap="square" rtlCol="0">
            <a:spAutoFit/>
          </a:bodyPr>
          <a:lstStyle/>
          <a:p>
            <a:pPr>
              <a:lnSpc>
                <a:spcPct val="115000"/>
              </a:lnSpc>
              <a:spcAft>
                <a:spcPts val="800"/>
              </a:spcAft>
            </a:pPr>
            <a:r>
              <a:rPr lang="zh-CN" altLang="en-US" sz="1800" kern="100" dirty="0">
                <a:effectLst/>
                <a:latin typeface="等线" panose="02010600030101010101" pitchFamily="2" charset="-122"/>
                <a:ea typeface="等线" panose="02010600030101010101" pitchFamily="2" charset="-122"/>
                <a:cs typeface="Times New Roman" panose="02020603050405020304" pitchFamily="18" charset="0"/>
              </a:rPr>
              <a:t>早期因特网上仅有数百台主机，那时候的域名与</a:t>
            </a:r>
            <a:r>
              <a:rPr lang="en-US" altLang="zh-CN" sz="1800" kern="100" dirty="0">
                <a:effectLst/>
                <a:latin typeface="等线" panose="02010600030101010101" pitchFamily="2" charset="-122"/>
                <a:ea typeface="等线" panose="02010600030101010101" pitchFamily="2" charset="-122"/>
                <a:cs typeface="Times New Roman" panose="02020603050405020304" pitchFamily="18" charset="0"/>
              </a:rPr>
              <a:t>IP</a:t>
            </a:r>
            <a:r>
              <a:rPr lang="zh-CN" altLang="en-US" sz="1800" kern="100" dirty="0">
                <a:effectLst/>
                <a:latin typeface="等线" panose="02010600030101010101" pitchFamily="2" charset="-122"/>
                <a:ea typeface="等线" panose="02010600030101010101" pitchFamily="2" charset="-122"/>
                <a:cs typeface="Times New Roman" panose="02020603050405020304" pitchFamily="18" charset="0"/>
              </a:rPr>
              <a:t>地址对应只需简单地记录在一个</a:t>
            </a:r>
            <a:r>
              <a:rPr lang="en-US" altLang="zh-CN" sz="1800" kern="100" dirty="0">
                <a:effectLst/>
                <a:latin typeface="等线" panose="02010600030101010101" pitchFamily="2" charset="-122"/>
                <a:ea typeface="等线" panose="02010600030101010101" pitchFamily="2" charset="-122"/>
                <a:cs typeface="Times New Roman" panose="02020603050405020304" pitchFamily="18" charset="0"/>
              </a:rPr>
              <a:t>hosts.txt</a:t>
            </a:r>
            <a:r>
              <a:rPr lang="zh-CN" altLang="en-US" sz="1800" kern="100" dirty="0">
                <a:effectLst/>
                <a:latin typeface="等线" panose="02010600030101010101" pitchFamily="2" charset="-122"/>
                <a:ea typeface="等线" panose="02010600030101010101" pitchFamily="2" charset="-122"/>
                <a:cs typeface="Times New Roman" panose="02020603050405020304" pitchFamily="18" charset="0"/>
              </a:rPr>
              <a:t>文件中，这个文件由网络信息中心</a:t>
            </a:r>
            <a:r>
              <a:rPr lang="en-US" altLang="zh-CN" sz="1800" kern="100" dirty="0">
                <a:effectLst/>
                <a:latin typeface="等线" panose="02010600030101010101" pitchFamily="2" charset="-122"/>
                <a:ea typeface="等线" panose="02010600030101010101" pitchFamily="2" charset="-122"/>
                <a:cs typeface="Times New Roman" panose="02020603050405020304" pitchFamily="18" charset="0"/>
              </a:rPr>
              <a:t>(NIC</a:t>
            </a:r>
            <a:r>
              <a:rPr lang="zh-CN" altLang="en-US" sz="1800" kern="100" dirty="0">
                <a:effectLst/>
                <a:latin typeface="等线" panose="02010600030101010101" pitchFamily="2" charset="-122"/>
                <a:ea typeface="等线" panose="02010600030101010101" pitchFamily="2" charset="-122"/>
                <a:cs typeface="Times New Roman" panose="02020603050405020304" pitchFamily="18" charset="0"/>
              </a:rPr>
              <a:t>，</a:t>
            </a:r>
            <a:r>
              <a:rPr lang="en-US" altLang="zh-CN" sz="1800" kern="100" dirty="0">
                <a:effectLst/>
                <a:latin typeface="等线" panose="02010600030101010101" pitchFamily="2" charset="-122"/>
                <a:ea typeface="等线" panose="02010600030101010101" pitchFamily="2" charset="-122"/>
                <a:cs typeface="Times New Roman" panose="02020603050405020304" pitchFamily="18" charset="0"/>
              </a:rPr>
              <a:t>Network Information Center)</a:t>
            </a:r>
            <a:r>
              <a:rPr lang="zh-CN" altLang="en-US" sz="1800" kern="100" dirty="0">
                <a:effectLst/>
                <a:latin typeface="等线" panose="02010600030101010101" pitchFamily="2" charset="-122"/>
                <a:ea typeface="等线" panose="02010600030101010101" pitchFamily="2" charset="-122"/>
                <a:cs typeface="Times New Roman" panose="02020603050405020304" pitchFamily="18" charset="0"/>
              </a:rPr>
              <a:t>负责维护。任何想添加到因特网上的主机的管理员都应将其名字和地址</a:t>
            </a:r>
            <a:r>
              <a:rPr lang="en-US" altLang="zh-CN" sz="1800" kern="100" dirty="0">
                <a:effectLst/>
                <a:latin typeface="等线" panose="02010600030101010101" pitchFamily="2" charset="-122"/>
                <a:ea typeface="等线" panose="02010600030101010101" pitchFamily="2" charset="-122"/>
                <a:cs typeface="Times New Roman" panose="02020603050405020304" pitchFamily="18" charset="0"/>
              </a:rPr>
              <a:t>E-mail</a:t>
            </a:r>
            <a:r>
              <a:rPr lang="zh-CN" altLang="en-US" sz="1800" kern="100" dirty="0">
                <a:effectLst/>
                <a:latin typeface="等线" panose="02010600030101010101" pitchFamily="2" charset="-122"/>
                <a:ea typeface="等线" panose="02010600030101010101" pitchFamily="2" charset="-122"/>
                <a:cs typeface="Times New Roman" panose="02020603050405020304" pitchFamily="18" charset="0"/>
              </a:rPr>
              <a:t>给</a:t>
            </a:r>
            <a:r>
              <a:rPr lang="en-US" altLang="zh-CN" sz="1800" kern="100" dirty="0">
                <a:effectLst/>
                <a:latin typeface="等线" panose="02010600030101010101" pitchFamily="2" charset="-122"/>
                <a:ea typeface="等线" panose="02010600030101010101" pitchFamily="2" charset="-122"/>
                <a:cs typeface="Times New Roman" panose="02020603050405020304" pitchFamily="18" charset="0"/>
              </a:rPr>
              <a:t>NIC</a:t>
            </a:r>
            <a:r>
              <a:rPr lang="zh-CN" altLang="en-US" sz="1800" kern="100" dirty="0">
                <a:effectLst/>
                <a:latin typeface="等线" panose="02010600030101010101" pitchFamily="2" charset="-122"/>
                <a:ea typeface="等线" panose="02010600030101010101" pitchFamily="2" charset="-122"/>
                <a:cs typeface="Times New Roman" panose="02020603050405020304" pitchFamily="18" charset="0"/>
              </a:rPr>
              <a:t>，这个对应就会被手工加到</a:t>
            </a:r>
            <a:r>
              <a:rPr lang="en-US" altLang="zh-CN" sz="1800" kern="100" dirty="0">
                <a:effectLst/>
                <a:latin typeface="等线" panose="02010600030101010101" pitchFamily="2" charset="-122"/>
                <a:ea typeface="等线" panose="02010600030101010101" pitchFamily="2" charset="-122"/>
                <a:cs typeface="Times New Roman" panose="02020603050405020304" pitchFamily="18" charset="0"/>
              </a:rPr>
              <a:t>hosts.txt</a:t>
            </a:r>
            <a:r>
              <a:rPr lang="zh-CN" altLang="en-US" sz="1800" kern="100" dirty="0">
                <a:effectLst/>
                <a:latin typeface="等线" panose="02010600030101010101" pitchFamily="2" charset="-122"/>
                <a:ea typeface="等线" panose="02010600030101010101" pitchFamily="2" charset="-122"/>
                <a:cs typeface="Times New Roman" panose="02020603050405020304" pitchFamily="18" charset="0"/>
              </a:rPr>
              <a:t>文件中。每个主机管理员去</a:t>
            </a:r>
            <a:r>
              <a:rPr lang="en-US" altLang="zh-CN" sz="1800" kern="100" dirty="0">
                <a:effectLst/>
                <a:latin typeface="等线" panose="02010600030101010101" pitchFamily="2" charset="-122"/>
                <a:ea typeface="等线" panose="02010600030101010101" pitchFamily="2" charset="-122"/>
                <a:cs typeface="Times New Roman" panose="02020603050405020304" pitchFamily="18" charset="0"/>
              </a:rPr>
              <a:t>NIC</a:t>
            </a:r>
            <a:r>
              <a:rPr lang="zh-CN" altLang="en-US" sz="1800" kern="100" dirty="0">
                <a:effectLst/>
                <a:latin typeface="等线" panose="02010600030101010101" pitchFamily="2" charset="-122"/>
                <a:ea typeface="等线" panose="02010600030101010101" pitchFamily="2" charset="-122"/>
                <a:cs typeface="Times New Roman" panose="02020603050405020304" pitchFamily="18" charset="0"/>
              </a:rPr>
              <a:t>下载最新的</a:t>
            </a:r>
            <a:r>
              <a:rPr lang="en-US" altLang="zh-CN" sz="1800" kern="100" dirty="0">
                <a:effectLst/>
                <a:latin typeface="等线" panose="02010600030101010101" pitchFamily="2" charset="-122"/>
                <a:ea typeface="等线" panose="02010600030101010101" pitchFamily="2" charset="-122"/>
                <a:cs typeface="Times New Roman" panose="02020603050405020304" pitchFamily="18" charset="0"/>
              </a:rPr>
              <a:t>hosts.txt</a:t>
            </a:r>
            <a:r>
              <a:rPr lang="zh-CN" altLang="en-US" sz="1800" kern="100" dirty="0">
                <a:effectLst/>
                <a:latin typeface="等线" panose="02010600030101010101" pitchFamily="2" charset="-122"/>
                <a:ea typeface="等线" panose="02010600030101010101" pitchFamily="2" charset="-122"/>
                <a:cs typeface="Times New Roman" panose="02020603050405020304" pitchFamily="18" charset="0"/>
              </a:rPr>
              <a:t>文件放到自己的主机上，就完成了域名列表的更新。域名解析只是一个检查本机文件的本地过程。</a:t>
            </a:r>
            <a:endParaRPr lang="zh-CN" altLang="en-US" sz="1800" kern="100" dirty="0">
              <a:effectLst/>
              <a:latin typeface="等线" panose="02010600030101010101" pitchFamily="2" charset="-122"/>
              <a:ea typeface="等线" panose="02010600030101010101" pitchFamily="2" charset="-122"/>
              <a:cs typeface="Times New Roman" panose="02020603050405020304" pitchFamily="18" charset="0"/>
            </a:endParaRPr>
          </a:p>
          <a:p>
            <a:pPr>
              <a:lnSpc>
                <a:spcPct val="115000"/>
              </a:lnSpc>
              <a:spcAft>
                <a:spcPts val="800"/>
              </a:spcAft>
            </a:pPr>
            <a:r>
              <a:rPr lang="zh-CN" altLang="en-US" sz="1800" kern="100" dirty="0">
                <a:effectLst/>
                <a:latin typeface="等线" panose="02010600030101010101" pitchFamily="2" charset="-122"/>
                <a:ea typeface="等线" panose="02010600030101010101" pitchFamily="2" charset="-122"/>
                <a:cs typeface="Times New Roman" panose="02020603050405020304" pitchFamily="18" charset="0"/>
              </a:rPr>
              <a:t>随着因特网上主机数量的膨胀，原有的方式已经无法满足要求。现有域名系统于</a:t>
            </a:r>
            <a:r>
              <a:rPr lang="en-US" altLang="zh-CN" sz="1800" kern="100" dirty="0">
                <a:effectLst/>
                <a:latin typeface="等线" panose="02010600030101010101" pitchFamily="2" charset="-122"/>
                <a:ea typeface="等线" panose="02010600030101010101" pitchFamily="2" charset="-122"/>
                <a:cs typeface="Times New Roman" panose="02020603050405020304" pitchFamily="18" charset="0"/>
              </a:rPr>
              <a:t>20</a:t>
            </a:r>
            <a:r>
              <a:rPr lang="zh-CN" altLang="en-US" sz="1800" kern="100" dirty="0">
                <a:effectLst/>
                <a:latin typeface="等线" panose="02010600030101010101" pitchFamily="2" charset="-122"/>
                <a:ea typeface="等线" panose="02010600030101010101" pitchFamily="2" charset="-122"/>
                <a:cs typeface="Times New Roman" panose="02020603050405020304" pitchFamily="18" charset="0"/>
              </a:rPr>
              <a:t>世纪</a:t>
            </a:r>
            <a:r>
              <a:rPr lang="en-US" altLang="zh-CN" sz="1800" kern="100" dirty="0">
                <a:effectLst/>
                <a:latin typeface="等线" panose="02010600030101010101" pitchFamily="2" charset="-122"/>
                <a:ea typeface="等线" panose="02010600030101010101" pitchFamily="2" charset="-122"/>
                <a:cs typeface="Times New Roman" panose="02020603050405020304" pitchFamily="18" charset="0"/>
              </a:rPr>
              <a:t>80</a:t>
            </a:r>
            <a:r>
              <a:rPr lang="zh-CN" altLang="en-US" sz="1800" kern="100" dirty="0">
                <a:effectLst/>
                <a:latin typeface="等线" panose="02010600030101010101" pitchFamily="2" charset="-122"/>
                <a:ea typeface="等线" panose="02010600030101010101" pitchFamily="2" charset="-122"/>
                <a:cs typeface="Times New Roman" panose="02020603050405020304" pitchFamily="18" charset="0"/>
              </a:rPr>
              <a:t>年代由</a:t>
            </a:r>
            <a:r>
              <a:rPr lang="zh-CN" altLang="en-US" b="1" i="0" dirty="0">
                <a:solidFill>
                  <a:srgbClr val="FFFF00"/>
                </a:solidFill>
                <a:effectLst/>
                <a:latin typeface="-apple-system"/>
              </a:rPr>
              <a:t>保罗</a:t>
            </a:r>
            <a:r>
              <a:rPr lang="en-US" altLang="zh-CN" b="1" i="0" dirty="0">
                <a:solidFill>
                  <a:srgbClr val="FFFF00"/>
                </a:solidFill>
                <a:effectLst/>
                <a:latin typeface="-apple-system"/>
              </a:rPr>
              <a:t>·</a:t>
            </a:r>
            <a:r>
              <a:rPr lang="zh-CN" altLang="en-US" b="1" i="0" dirty="0">
                <a:solidFill>
                  <a:srgbClr val="FFFF00"/>
                </a:solidFill>
                <a:effectLst/>
                <a:latin typeface="-apple-system"/>
              </a:rPr>
              <a:t>莫卡派乔斯（</a:t>
            </a:r>
            <a:r>
              <a:rPr lang="en-US" altLang="zh-CN" b="1" i="0" dirty="0">
                <a:solidFill>
                  <a:srgbClr val="FFFF00"/>
                </a:solidFill>
                <a:effectLst/>
                <a:latin typeface="-apple-system"/>
              </a:rPr>
              <a:t>Paul Mockapetris</a:t>
            </a:r>
            <a:r>
              <a:rPr lang="zh-CN" altLang="en-US" b="1" i="0" dirty="0">
                <a:solidFill>
                  <a:srgbClr val="FFFF00"/>
                </a:solidFill>
                <a:effectLst/>
                <a:latin typeface="-apple-system"/>
              </a:rPr>
              <a:t>）</a:t>
            </a:r>
            <a:r>
              <a:rPr lang="zh-CN" altLang="en-US" sz="1800" kern="100" dirty="0">
                <a:effectLst/>
                <a:latin typeface="等线" panose="02010600030101010101" pitchFamily="2" charset="-122"/>
                <a:ea typeface="等线" panose="02010600030101010101" pitchFamily="2" charset="-122"/>
                <a:cs typeface="Times New Roman" panose="02020603050405020304" pitchFamily="18" charset="0"/>
              </a:rPr>
              <a:t>发明并开始投入使用。域名系统采用层次结构的名字空间，并且原来庞大的对应表被分解为不相交的、分布在因特网中的子表，这些子表称为资源文件。</a:t>
            </a:r>
            <a:endParaRPr lang="zh-CN" altLang="en-US" sz="1800" kern="100" dirty="0">
              <a:effectLst/>
              <a:latin typeface="等线" panose="02010600030101010101" pitchFamily="2" charset="-122"/>
              <a:ea typeface="等线" panose="02010600030101010101" pitchFamily="2" charset="-122"/>
              <a:cs typeface="Times New Roman" panose="02020603050405020304" pitchFamily="18" charset="0"/>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hasCustomPrompt="1"/>
          </p:nvPr>
        </p:nvSpPr>
        <p:spPr>
          <a:xfrm>
            <a:off x="2051169" y="2084791"/>
            <a:ext cx="8076962" cy="1380758"/>
          </a:xfrm>
        </p:spPr>
        <p:txBody>
          <a:bodyPr/>
          <a:lstStyle/>
          <a:p>
            <a:r>
              <a:rPr lang="en-US" dirty="0"/>
              <a:t>DNS</a:t>
            </a:r>
            <a:r>
              <a:rPr lang="zh-CN" altLang="en-US" dirty="0"/>
              <a:t>的运作过程</a:t>
            </a:r>
            <a:endParaRPr lang="en-US" dirty="0"/>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p:cNvSpPr txBox="1"/>
          <p:nvPr/>
        </p:nvSpPr>
        <p:spPr>
          <a:xfrm>
            <a:off x="620786" y="218114"/>
            <a:ext cx="8506436" cy="735520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AutoNum type="arabicPeriod"/>
            </a:pPr>
            <a:r>
              <a:rPr kumimoji="0" lang="zh-CN" altLang="zh-CN" b="1" i="0" u="none" strike="noStrike" cap="none" normalizeH="0" baseline="0" dirty="0">
                <a:ln>
                  <a:noFill/>
                </a:ln>
                <a:solidFill>
                  <a:srgbClr val="FFFF00"/>
                </a:solidFill>
                <a:effectLst/>
                <a:latin typeface="Arial" panose="020B0604020202020204" pitchFamily="34" charset="0"/>
                <a:ea typeface="-apple-system"/>
              </a:rPr>
              <a:t>用户输入域名</a:t>
            </a:r>
            <a:r>
              <a:rPr kumimoji="0" lang="zh-CN" altLang="zh-CN" b="0" i="0" u="none" strike="noStrike" cap="none" normalizeH="0" baseline="0" dirty="0">
                <a:ln>
                  <a:noFill/>
                </a:ln>
                <a:solidFill>
                  <a:srgbClr val="FFFF00"/>
                </a:solidFill>
                <a:effectLst/>
                <a:latin typeface="Arial" panose="020B0604020202020204" pitchFamily="34" charset="0"/>
                <a:ea typeface="-apple-system"/>
              </a:rPr>
              <a:t>：</a:t>
            </a:r>
            <a:endParaRPr kumimoji="0" lang="zh-CN" altLang="zh-CN" b="0" i="0" u="none" strike="noStrike" cap="none" normalizeH="0" baseline="0" dirty="0">
              <a:ln>
                <a:noFill/>
              </a:ln>
              <a:solidFill>
                <a:srgbClr val="FFFF00"/>
              </a:solidFill>
              <a:effectLst/>
              <a:latin typeface="Arial" panose="020B0604020202020204" pitchFamily="34" charset="0"/>
              <a:ea typeface="-apple-system"/>
            </a:endParaRPr>
          </a:p>
          <a:p>
            <a:pPr marL="457200" marR="0" lvl="1" indent="0" algn="l" defTabSz="914400" rtl="0" eaLnBrk="0" fontAlgn="base" latinLnBrk="0" hangingPunct="0">
              <a:lnSpc>
                <a:spcPct val="100000"/>
              </a:lnSpc>
              <a:spcBef>
                <a:spcPct val="0"/>
              </a:spcBef>
              <a:spcAft>
                <a:spcPct val="0"/>
              </a:spcAft>
              <a:buClrTx/>
              <a:buSzTx/>
              <a:buFontTx/>
              <a:buChar char="•"/>
            </a:pPr>
            <a:r>
              <a:rPr kumimoji="0" lang="zh-CN" altLang="zh-CN" b="0" i="0" u="none" strike="noStrike" cap="none" normalizeH="0" baseline="0" dirty="0">
                <a:ln>
                  <a:noFill/>
                </a:ln>
                <a:solidFill>
                  <a:srgbClr val="FFFF00"/>
                </a:solidFill>
                <a:effectLst/>
                <a:latin typeface="Arial" panose="020B0604020202020204" pitchFamily="34" charset="0"/>
                <a:ea typeface="-apple-system"/>
              </a:rPr>
              <a:t>用户在浏览器地址栏输入一个域名，如 </a:t>
            </a:r>
            <a:r>
              <a:rPr kumimoji="0" lang="zh-CN" altLang="zh-CN" b="0" i="0" u="none" strike="noStrike" cap="none" normalizeH="0" baseline="0" dirty="0">
                <a:ln>
                  <a:noFill/>
                </a:ln>
                <a:solidFill>
                  <a:srgbClr val="FFFF00"/>
                </a:solidFill>
                <a:effectLst/>
                <a:latin typeface="Arial Unicode MS"/>
                <a:ea typeface="-apple-system"/>
              </a:rPr>
              <a:t>www.example.com</a:t>
            </a:r>
            <a:r>
              <a:rPr kumimoji="0" lang="zh-CN" altLang="zh-CN" b="0" i="0" u="none" strike="noStrike" cap="none" normalizeH="0" baseline="0" dirty="0">
                <a:ln>
                  <a:noFill/>
                </a:ln>
                <a:solidFill>
                  <a:srgbClr val="FFFF00"/>
                </a:solidFill>
                <a:effectLst/>
                <a:ea typeface="-apple-system"/>
              </a:rPr>
              <a:t>。</a:t>
            </a:r>
            <a:endParaRPr kumimoji="0" lang="zh-CN" altLang="zh-CN" b="0" i="0" u="none" strike="noStrike" cap="none" normalizeH="0" baseline="0" dirty="0">
              <a:ln>
                <a:noFill/>
              </a:ln>
              <a:solidFill>
                <a:srgbClr val="FFFF00"/>
              </a:solidFill>
              <a:effectLst/>
              <a:latin typeface="Arial" panose="020B0604020202020204" pitchFamily="34" charset="0"/>
              <a:ea typeface="-apple-system"/>
            </a:endParaRPr>
          </a:p>
          <a:p>
            <a:pPr marL="0" marR="0" lvl="0" indent="0" algn="l" defTabSz="914400" rtl="0" eaLnBrk="0" fontAlgn="base" latinLnBrk="0" hangingPunct="0">
              <a:lnSpc>
                <a:spcPct val="100000"/>
              </a:lnSpc>
              <a:spcBef>
                <a:spcPct val="0"/>
              </a:spcBef>
              <a:spcAft>
                <a:spcPct val="0"/>
              </a:spcAft>
              <a:buClrTx/>
              <a:buSzTx/>
              <a:buFontTx/>
              <a:buAutoNum type="arabicPeriod" startAt="2"/>
            </a:pPr>
            <a:r>
              <a:rPr kumimoji="0" lang="zh-CN" altLang="zh-CN" b="1" i="0" u="none" strike="noStrike" cap="none" normalizeH="0" baseline="0" dirty="0">
                <a:ln>
                  <a:noFill/>
                </a:ln>
                <a:solidFill>
                  <a:srgbClr val="FFFF00"/>
                </a:solidFill>
                <a:effectLst/>
                <a:latin typeface="Arial" panose="020B0604020202020204" pitchFamily="34" charset="0"/>
                <a:ea typeface="-apple-system"/>
              </a:rPr>
              <a:t>查询本地DNS缓存</a:t>
            </a:r>
            <a:r>
              <a:rPr kumimoji="0" lang="zh-CN" altLang="zh-CN" b="0" i="0" u="none" strike="noStrike" cap="none" normalizeH="0" baseline="0" dirty="0">
                <a:ln>
                  <a:noFill/>
                </a:ln>
                <a:solidFill>
                  <a:srgbClr val="FFFF00"/>
                </a:solidFill>
                <a:effectLst/>
                <a:latin typeface="Arial" panose="020B0604020202020204" pitchFamily="34" charset="0"/>
                <a:ea typeface="-apple-system"/>
              </a:rPr>
              <a:t>：</a:t>
            </a:r>
            <a:endParaRPr kumimoji="0" lang="zh-CN" altLang="zh-CN" b="0" i="0" u="none" strike="noStrike" cap="none" normalizeH="0" baseline="0" dirty="0">
              <a:ln>
                <a:noFill/>
              </a:ln>
              <a:solidFill>
                <a:srgbClr val="FFFF00"/>
              </a:solidFill>
              <a:effectLst/>
              <a:latin typeface="Arial" panose="020B0604020202020204" pitchFamily="34" charset="0"/>
              <a:ea typeface="-apple-system"/>
            </a:endParaRPr>
          </a:p>
          <a:p>
            <a:pPr marL="457200" marR="0" lvl="1" indent="0" algn="l" defTabSz="914400" rtl="0" eaLnBrk="0" fontAlgn="base" latinLnBrk="0" hangingPunct="0">
              <a:lnSpc>
                <a:spcPct val="100000"/>
              </a:lnSpc>
              <a:spcBef>
                <a:spcPct val="0"/>
              </a:spcBef>
              <a:spcAft>
                <a:spcPct val="0"/>
              </a:spcAft>
              <a:buClrTx/>
              <a:buSzTx/>
              <a:buFontTx/>
              <a:buChar char="•"/>
            </a:pPr>
            <a:r>
              <a:rPr kumimoji="0" lang="zh-CN" altLang="zh-CN" b="0" i="0" u="none" strike="noStrike" cap="none" normalizeH="0" baseline="0" dirty="0">
                <a:ln>
                  <a:noFill/>
                </a:ln>
                <a:solidFill>
                  <a:srgbClr val="FFFF00"/>
                </a:solidFill>
                <a:effectLst/>
                <a:latin typeface="Arial" panose="020B0604020202020204" pitchFamily="34" charset="0"/>
                <a:ea typeface="-apple-system"/>
              </a:rPr>
              <a:t>用户的设备（或本地网络的路由器）首先检查本地DNS缓存，看是否已经存储了该域名对应的IP地址。</a:t>
            </a:r>
            <a:endParaRPr kumimoji="0" lang="zh-CN" altLang="zh-CN" b="0" i="0" u="none" strike="noStrike" cap="none" normalizeH="0" baseline="0" dirty="0">
              <a:ln>
                <a:noFill/>
              </a:ln>
              <a:solidFill>
                <a:srgbClr val="FFFF00"/>
              </a:solidFill>
              <a:effectLst/>
              <a:latin typeface="Arial" panose="020B0604020202020204" pitchFamily="34" charset="0"/>
              <a:ea typeface="-apple-system"/>
            </a:endParaRPr>
          </a:p>
          <a:p>
            <a:pPr marL="0" marR="0" lvl="0" indent="0" algn="l" defTabSz="914400" rtl="0" eaLnBrk="0" fontAlgn="base" latinLnBrk="0" hangingPunct="0">
              <a:lnSpc>
                <a:spcPct val="100000"/>
              </a:lnSpc>
              <a:spcBef>
                <a:spcPct val="0"/>
              </a:spcBef>
              <a:spcAft>
                <a:spcPct val="0"/>
              </a:spcAft>
              <a:buClrTx/>
              <a:buSzTx/>
              <a:buFontTx/>
              <a:buAutoNum type="arabicPeriod" startAt="3"/>
            </a:pPr>
            <a:r>
              <a:rPr kumimoji="0" lang="zh-CN" altLang="zh-CN" b="1" i="0" u="none" strike="noStrike" cap="none" normalizeH="0" baseline="0" dirty="0">
                <a:ln>
                  <a:noFill/>
                </a:ln>
                <a:solidFill>
                  <a:srgbClr val="FFFF00"/>
                </a:solidFill>
                <a:effectLst/>
                <a:latin typeface="Arial" panose="020B0604020202020204" pitchFamily="34" charset="0"/>
                <a:ea typeface="-apple-system"/>
              </a:rPr>
              <a:t>向本地DNS服务器查询</a:t>
            </a:r>
            <a:r>
              <a:rPr kumimoji="0" lang="zh-CN" altLang="zh-CN" b="0" i="0" u="none" strike="noStrike" cap="none" normalizeH="0" baseline="0" dirty="0">
                <a:ln>
                  <a:noFill/>
                </a:ln>
                <a:solidFill>
                  <a:srgbClr val="FFFF00"/>
                </a:solidFill>
                <a:effectLst/>
                <a:latin typeface="Arial" panose="020B0604020202020204" pitchFamily="34" charset="0"/>
                <a:ea typeface="-apple-system"/>
              </a:rPr>
              <a:t>：</a:t>
            </a:r>
            <a:endParaRPr kumimoji="0" lang="zh-CN" altLang="zh-CN" b="0" i="0" u="none" strike="noStrike" cap="none" normalizeH="0" baseline="0" dirty="0">
              <a:ln>
                <a:noFill/>
              </a:ln>
              <a:solidFill>
                <a:srgbClr val="FFFF00"/>
              </a:solidFill>
              <a:effectLst/>
              <a:latin typeface="Arial" panose="020B0604020202020204" pitchFamily="34" charset="0"/>
              <a:ea typeface="-apple-system"/>
            </a:endParaRPr>
          </a:p>
          <a:p>
            <a:pPr marL="457200" marR="0" lvl="1" indent="0" algn="l" defTabSz="914400" rtl="0" eaLnBrk="0" fontAlgn="base" latinLnBrk="0" hangingPunct="0">
              <a:lnSpc>
                <a:spcPct val="100000"/>
              </a:lnSpc>
              <a:spcBef>
                <a:spcPct val="0"/>
              </a:spcBef>
              <a:spcAft>
                <a:spcPct val="0"/>
              </a:spcAft>
              <a:buClrTx/>
              <a:buSzTx/>
              <a:buFontTx/>
              <a:buChar char="•"/>
            </a:pPr>
            <a:r>
              <a:rPr kumimoji="0" lang="zh-CN" altLang="zh-CN" b="0" i="0" u="none" strike="noStrike" cap="none" normalizeH="0" baseline="0" dirty="0">
                <a:ln>
                  <a:noFill/>
                </a:ln>
                <a:solidFill>
                  <a:srgbClr val="FFFF00"/>
                </a:solidFill>
                <a:effectLst/>
                <a:latin typeface="Arial" panose="020B0604020202020204" pitchFamily="34" charset="0"/>
                <a:ea typeface="-apple-system"/>
              </a:rPr>
              <a:t>如果本地缓存中没有找到，设备会向配置的本地DNS服务器（通常是互联网服务提供商ISP提供的）发送查询请求。</a:t>
            </a:r>
            <a:endParaRPr kumimoji="0" lang="zh-CN" altLang="zh-CN" b="0" i="0" u="none" strike="noStrike" cap="none" normalizeH="0" baseline="0" dirty="0">
              <a:ln>
                <a:noFill/>
              </a:ln>
              <a:solidFill>
                <a:srgbClr val="FFFF00"/>
              </a:solidFill>
              <a:effectLst/>
              <a:latin typeface="Arial" panose="020B0604020202020204" pitchFamily="34" charset="0"/>
              <a:ea typeface="-apple-system"/>
            </a:endParaRPr>
          </a:p>
          <a:p>
            <a:pPr marL="0" marR="0" lvl="0" indent="0" algn="l" defTabSz="914400" rtl="0" eaLnBrk="0" fontAlgn="base" latinLnBrk="0" hangingPunct="0">
              <a:lnSpc>
                <a:spcPct val="100000"/>
              </a:lnSpc>
              <a:spcBef>
                <a:spcPct val="0"/>
              </a:spcBef>
              <a:spcAft>
                <a:spcPct val="0"/>
              </a:spcAft>
              <a:buClrTx/>
              <a:buSzTx/>
              <a:buFontTx/>
              <a:buAutoNum type="arabicPeriod" startAt="4"/>
            </a:pPr>
            <a:r>
              <a:rPr kumimoji="0" lang="zh-CN" altLang="zh-CN" b="1" i="0" u="none" strike="noStrike" cap="none" normalizeH="0" baseline="0" dirty="0">
                <a:ln>
                  <a:noFill/>
                </a:ln>
                <a:solidFill>
                  <a:srgbClr val="FFFF00"/>
                </a:solidFill>
                <a:effectLst/>
                <a:latin typeface="Arial" panose="020B0604020202020204" pitchFamily="34" charset="0"/>
                <a:ea typeface="-apple-system"/>
              </a:rPr>
              <a:t>递归查询</a:t>
            </a:r>
            <a:r>
              <a:rPr kumimoji="0" lang="zh-CN" altLang="zh-CN" b="0" i="0" u="none" strike="noStrike" cap="none" normalizeH="0" baseline="0" dirty="0">
                <a:ln>
                  <a:noFill/>
                </a:ln>
                <a:solidFill>
                  <a:srgbClr val="FFFF00"/>
                </a:solidFill>
                <a:effectLst/>
                <a:latin typeface="Arial" panose="020B0604020202020204" pitchFamily="34" charset="0"/>
                <a:ea typeface="-apple-system"/>
              </a:rPr>
              <a:t>：</a:t>
            </a:r>
            <a:endParaRPr kumimoji="0" lang="zh-CN" altLang="zh-CN" b="0" i="0" u="none" strike="noStrike" cap="none" normalizeH="0" baseline="0" dirty="0">
              <a:ln>
                <a:noFill/>
              </a:ln>
              <a:solidFill>
                <a:srgbClr val="FFFF00"/>
              </a:solidFill>
              <a:effectLst/>
              <a:latin typeface="Arial" panose="020B0604020202020204" pitchFamily="34" charset="0"/>
              <a:ea typeface="-apple-system"/>
            </a:endParaRPr>
          </a:p>
          <a:p>
            <a:pPr marL="457200" marR="0" lvl="1" indent="0" algn="l" defTabSz="914400" rtl="0" eaLnBrk="0" fontAlgn="base" latinLnBrk="0" hangingPunct="0">
              <a:lnSpc>
                <a:spcPct val="100000"/>
              </a:lnSpc>
              <a:spcBef>
                <a:spcPct val="0"/>
              </a:spcBef>
              <a:spcAft>
                <a:spcPct val="0"/>
              </a:spcAft>
              <a:buClrTx/>
              <a:buSzTx/>
              <a:buFontTx/>
              <a:buChar char="•"/>
            </a:pPr>
            <a:r>
              <a:rPr kumimoji="0" lang="zh-CN" altLang="zh-CN" b="0" i="0" u="none" strike="noStrike" cap="none" normalizeH="0" baseline="0" dirty="0">
                <a:ln>
                  <a:noFill/>
                </a:ln>
                <a:solidFill>
                  <a:srgbClr val="FFFF00"/>
                </a:solidFill>
                <a:effectLst/>
                <a:latin typeface="Arial" panose="020B0604020202020204" pitchFamily="34" charset="0"/>
                <a:ea typeface="-apple-system"/>
              </a:rPr>
              <a:t>本地DNS服务器如果不知道答案，会代表用户设备进行递归查询：</a:t>
            </a:r>
            <a:endParaRPr kumimoji="0" lang="zh-CN" altLang="zh-CN" b="0" i="0" u="none" strike="noStrike" cap="none" normalizeH="0" baseline="0" dirty="0">
              <a:ln>
                <a:noFill/>
              </a:ln>
              <a:solidFill>
                <a:srgbClr val="FFFF00"/>
              </a:solidFill>
              <a:effectLst/>
              <a:latin typeface="Arial" panose="020B0604020202020204" pitchFamily="34" charset="0"/>
              <a:ea typeface="-apple-system"/>
            </a:endParaRPr>
          </a:p>
          <a:p>
            <a:pPr marL="914400" marR="0" lvl="2" indent="0" algn="l" defTabSz="914400" rtl="0" eaLnBrk="0" fontAlgn="base" latinLnBrk="0" hangingPunct="0">
              <a:lnSpc>
                <a:spcPct val="100000"/>
              </a:lnSpc>
              <a:spcBef>
                <a:spcPct val="0"/>
              </a:spcBef>
              <a:spcAft>
                <a:spcPct val="0"/>
              </a:spcAft>
              <a:buClrTx/>
              <a:buSzTx/>
              <a:buFontTx/>
              <a:buChar char="•"/>
            </a:pPr>
            <a:r>
              <a:rPr kumimoji="0" lang="zh-CN" altLang="zh-CN" b="0" i="0" u="none" strike="noStrike" cap="none" normalizeH="0" baseline="0" dirty="0">
                <a:ln>
                  <a:noFill/>
                </a:ln>
                <a:solidFill>
                  <a:srgbClr val="FFFF00"/>
                </a:solidFill>
                <a:effectLst/>
                <a:latin typeface="Arial" panose="020B0604020202020204" pitchFamily="34" charset="0"/>
                <a:ea typeface="-apple-system"/>
              </a:rPr>
              <a:t>首先查询根DNS服务器，获取负责该顶级域名（如.com）的TLD服务器地址。</a:t>
            </a:r>
            <a:endParaRPr kumimoji="0" lang="zh-CN" altLang="zh-CN" b="0" i="0" u="none" strike="noStrike" cap="none" normalizeH="0" baseline="0" dirty="0">
              <a:ln>
                <a:noFill/>
              </a:ln>
              <a:solidFill>
                <a:srgbClr val="FFFF00"/>
              </a:solidFill>
              <a:effectLst/>
              <a:latin typeface="Arial" panose="020B0604020202020204" pitchFamily="34" charset="0"/>
              <a:ea typeface="-apple-system"/>
            </a:endParaRPr>
          </a:p>
          <a:p>
            <a:pPr marL="914400" marR="0" lvl="2" indent="0" algn="l" defTabSz="914400" rtl="0" eaLnBrk="0" fontAlgn="base" latinLnBrk="0" hangingPunct="0">
              <a:lnSpc>
                <a:spcPct val="100000"/>
              </a:lnSpc>
              <a:spcBef>
                <a:spcPct val="0"/>
              </a:spcBef>
              <a:spcAft>
                <a:spcPct val="0"/>
              </a:spcAft>
              <a:buClrTx/>
              <a:buSzTx/>
              <a:buFontTx/>
              <a:buChar char="•"/>
            </a:pPr>
            <a:r>
              <a:rPr kumimoji="0" lang="zh-CN" altLang="zh-CN" b="0" i="0" u="none" strike="noStrike" cap="none" normalizeH="0" baseline="0" dirty="0">
                <a:ln>
                  <a:noFill/>
                </a:ln>
                <a:solidFill>
                  <a:srgbClr val="FFFF00"/>
                </a:solidFill>
                <a:effectLst/>
                <a:latin typeface="Arial" panose="020B0604020202020204" pitchFamily="34" charset="0"/>
                <a:ea typeface="-apple-system"/>
              </a:rPr>
              <a:t>然后查询TLD服务器，获取负责该域名的权威名称服务器地址。</a:t>
            </a:r>
            <a:endParaRPr kumimoji="0" lang="zh-CN" altLang="zh-CN" b="0" i="0" u="none" strike="noStrike" cap="none" normalizeH="0" baseline="0" dirty="0">
              <a:ln>
                <a:noFill/>
              </a:ln>
              <a:solidFill>
                <a:srgbClr val="FFFF00"/>
              </a:solidFill>
              <a:effectLst/>
              <a:latin typeface="Arial" panose="020B0604020202020204" pitchFamily="34" charset="0"/>
              <a:ea typeface="-apple-system"/>
            </a:endParaRPr>
          </a:p>
          <a:p>
            <a:pPr marL="914400" marR="0" lvl="2" indent="0" algn="l" defTabSz="914400" rtl="0" eaLnBrk="0" fontAlgn="base" latinLnBrk="0" hangingPunct="0">
              <a:lnSpc>
                <a:spcPct val="100000"/>
              </a:lnSpc>
              <a:spcBef>
                <a:spcPct val="0"/>
              </a:spcBef>
              <a:spcAft>
                <a:spcPct val="0"/>
              </a:spcAft>
              <a:buClrTx/>
              <a:buSzTx/>
              <a:buFontTx/>
              <a:buChar char="•"/>
            </a:pPr>
            <a:r>
              <a:rPr kumimoji="0" lang="zh-CN" altLang="zh-CN" b="0" i="0" u="none" strike="noStrike" cap="none" normalizeH="0" baseline="0" dirty="0">
                <a:ln>
                  <a:noFill/>
                </a:ln>
                <a:solidFill>
                  <a:srgbClr val="FFFF00"/>
                </a:solidFill>
                <a:effectLst/>
                <a:latin typeface="Arial" panose="020B0604020202020204" pitchFamily="34" charset="0"/>
                <a:ea typeface="-apple-system"/>
              </a:rPr>
              <a:t>最后查询权威名称服务器，获取域名对应的IP地址。</a:t>
            </a:r>
            <a:endParaRPr kumimoji="0" lang="zh-CN" altLang="zh-CN" b="0" i="0" u="none" strike="noStrike" cap="none" normalizeH="0" baseline="0" dirty="0">
              <a:ln>
                <a:noFill/>
              </a:ln>
              <a:solidFill>
                <a:srgbClr val="FFFF00"/>
              </a:solidFill>
              <a:effectLst/>
              <a:latin typeface="Arial" panose="020B0604020202020204" pitchFamily="34" charset="0"/>
              <a:ea typeface="-apple-system"/>
            </a:endParaRPr>
          </a:p>
          <a:p>
            <a:pPr marL="914400" marR="0" lvl="2" indent="0" algn="l" defTabSz="914400" rtl="0" eaLnBrk="0" fontAlgn="base" latinLnBrk="0" hangingPunct="0">
              <a:lnSpc>
                <a:spcPct val="100000"/>
              </a:lnSpc>
              <a:spcBef>
                <a:spcPct val="0"/>
              </a:spcBef>
              <a:spcAft>
                <a:spcPct val="0"/>
              </a:spcAft>
              <a:buClrTx/>
              <a:buSzTx/>
              <a:buFontTx/>
              <a:buChar char="•"/>
            </a:pPr>
            <a:r>
              <a:rPr kumimoji="0" lang="zh-CN" altLang="zh-CN" b="0" i="0" u="none" strike="noStrike" cap="none" normalizeH="0" baseline="0" dirty="0">
                <a:ln>
                  <a:noFill/>
                </a:ln>
                <a:solidFill>
                  <a:srgbClr val="FFFF00"/>
                </a:solidFill>
                <a:effectLst/>
                <a:latin typeface="Arial" panose="020B0604020202020204" pitchFamily="34" charset="0"/>
                <a:ea typeface="-apple-system"/>
              </a:rPr>
              <a:t>范围：根服务器</a:t>
            </a:r>
            <a:r>
              <a:rPr kumimoji="0" lang="en-US" altLang="zh-CN" b="0" i="0" u="none" strike="noStrike" cap="none" normalizeH="0" baseline="0" dirty="0">
                <a:ln>
                  <a:noFill/>
                </a:ln>
                <a:solidFill>
                  <a:srgbClr val="FFFF00"/>
                </a:solidFill>
                <a:effectLst/>
                <a:latin typeface="Arial" panose="020B0604020202020204" pitchFamily="34" charset="0"/>
                <a:ea typeface="-apple-system"/>
              </a:rPr>
              <a:t>&gt;</a:t>
            </a:r>
            <a:r>
              <a:rPr kumimoji="0" lang="zh-CN" altLang="en-US" b="0" i="0" u="none" strike="noStrike" cap="none" normalizeH="0" baseline="0" dirty="0">
                <a:ln>
                  <a:noFill/>
                </a:ln>
                <a:solidFill>
                  <a:srgbClr val="FFFF00"/>
                </a:solidFill>
                <a:effectLst/>
                <a:latin typeface="Arial" panose="020B0604020202020204" pitchFamily="34" charset="0"/>
                <a:ea typeface="-apple-system"/>
              </a:rPr>
              <a:t>顶级域服务器</a:t>
            </a:r>
            <a:r>
              <a:rPr kumimoji="0" lang="en-US" altLang="zh-CN" b="0" i="0" u="none" strike="noStrike" cap="none" normalizeH="0" baseline="0" dirty="0">
                <a:ln>
                  <a:noFill/>
                </a:ln>
                <a:solidFill>
                  <a:srgbClr val="FFFF00"/>
                </a:solidFill>
                <a:effectLst/>
                <a:latin typeface="Arial" panose="020B0604020202020204" pitchFamily="34" charset="0"/>
                <a:ea typeface="-apple-system"/>
              </a:rPr>
              <a:t>&gt;</a:t>
            </a:r>
            <a:r>
              <a:rPr kumimoji="0" lang="zh-CN" altLang="en-US" b="0" i="0" u="none" strike="noStrike" cap="none" normalizeH="0" baseline="0" dirty="0">
                <a:ln>
                  <a:noFill/>
                </a:ln>
                <a:solidFill>
                  <a:srgbClr val="FFFF00"/>
                </a:solidFill>
                <a:effectLst/>
                <a:latin typeface="Arial" panose="020B0604020202020204" pitchFamily="34" charset="0"/>
                <a:ea typeface="-apple-system"/>
              </a:rPr>
              <a:t>本地服务器</a:t>
            </a:r>
            <a:endParaRPr kumimoji="0" lang="zh-CN" altLang="zh-CN" b="0" i="0" u="none" strike="noStrike" cap="none" normalizeH="0" baseline="0" dirty="0">
              <a:ln>
                <a:noFill/>
              </a:ln>
              <a:solidFill>
                <a:srgbClr val="FFFF00"/>
              </a:solidFill>
              <a:effectLst/>
              <a:latin typeface="Arial" panose="020B0604020202020204" pitchFamily="34" charset="0"/>
              <a:ea typeface="-apple-system"/>
            </a:endParaRPr>
          </a:p>
          <a:p>
            <a:pPr marL="0" marR="0" lvl="0" indent="0" algn="l" defTabSz="914400" rtl="0" eaLnBrk="0" fontAlgn="base" latinLnBrk="0" hangingPunct="0">
              <a:lnSpc>
                <a:spcPct val="100000"/>
              </a:lnSpc>
              <a:spcBef>
                <a:spcPct val="0"/>
              </a:spcBef>
              <a:spcAft>
                <a:spcPct val="0"/>
              </a:spcAft>
              <a:buClrTx/>
              <a:buSzTx/>
              <a:buFontTx/>
              <a:buAutoNum type="arabicPeriod" startAt="5"/>
            </a:pPr>
            <a:r>
              <a:rPr kumimoji="0" lang="zh-CN" altLang="zh-CN" b="1" i="0" u="none" strike="noStrike" cap="none" normalizeH="0" baseline="0" dirty="0">
                <a:ln>
                  <a:noFill/>
                </a:ln>
                <a:solidFill>
                  <a:srgbClr val="FFFF00"/>
                </a:solidFill>
                <a:effectLst/>
                <a:latin typeface="Arial" panose="020B0604020202020204" pitchFamily="34" charset="0"/>
                <a:ea typeface="-apple-system"/>
              </a:rPr>
              <a:t>缓存结果</a:t>
            </a:r>
            <a:r>
              <a:rPr kumimoji="0" lang="zh-CN" altLang="zh-CN" b="0" i="0" u="none" strike="noStrike" cap="none" normalizeH="0" baseline="0" dirty="0">
                <a:ln>
                  <a:noFill/>
                </a:ln>
                <a:solidFill>
                  <a:srgbClr val="FFFF00"/>
                </a:solidFill>
                <a:effectLst/>
                <a:latin typeface="Arial" panose="020B0604020202020204" pitchFamily="34" charset="0"/>
                <a:ea typeface="-apple-system"/>
              </a:rPr>
              <a:t>：</a:t>
            </a:r>
            <a:endParaRPr kumimoji="0" lang="zh-CN" altLang="zh-CN" b="0" i="0" u="none" strike="noStrike" cap="none" normalizeH="0" baseline="0" dirty="0">
              <a:ln>
                <a:noFill/>
              </a:ln>
              <a:solidFill>
                <a:srgbClr val="FFFF00"/>
              </a:solidFill>
              <a:effectLst/>
              <a:latin typeface="Arial" panose="020B0604020202020204" pitchFamily="34" charset="0"/>
              <a:ea typeface="-apple-system"/>
            </a:endParaRPr>
          </a:p>
          <a:p>
            <a:pPr marL="457200" marR="0" lvl="1" indent="0" algn="l" defTabSz="914400" rtl="0" eaLnBrk="0" fontAlgn="base" latinLnBrk="0" hangingPunct="0">
              <a:lnSpc>
                <a:spcPct val="100000"/>
              </a:lnSpc>
              <a:spcBef>
                <a:spcPct val="0"/>
              </a:spcBef>
              <a:spcAft>
                <a:spcPct val="0"/>
              </a:spcAft>
              <a:buClrTx/>
              <a:buSzTx/>
              <a:buFontTx/>
              <a:buChar char="•"/>
            </a:pPr>
            <a:r>
              <a:rPr kumimoji="0" lang="zh-CN" altLang="zh-CN" b="0" i="0" u="none" strike="noStrike" cap="none" normalizeH="0" baseline="0" dirty="0">
                <a:ln>
                  <a:noFill/>
                </a:ln>
                <a:solidFill>
                  <a:srgbClr val="FFFF00"/>
                </a:solidFill>
                <a:effectLst/>
                <a:latin typeface="Arial" panose="020B0604020202020204" pitchFamily="34" charset="0"/>
                <a:ea typeface="-apple-system"/>
              </a:rPr>
              <a:t>本地DNS服务器在收到IP地址后，会将其缓存起来，以便未来相同请求可以快速响应。</a:t>
            </a:r>
            <a:endParaRPr kumimoji="0" lang="zh-CN" altLang="zh-CN" b="0" i="0" u="none" strike="noStrike" cap="none" normalizeH="0" baseline="0" dirty="0">
              <a:ln>
                <a:noFill/>
              </a:ln>
              <a:solidFill>
                <a:srgbClr val="FFFF00"/>
              </a:solidFill>
              <a:effectLst/>
              <a:latin typeface="Arial" panose="020B0604020202020204" pitchFamily="34" charset="0"/>
              <a:ea typeface="-apple-system"/>
            </a:endParaRPr>
          </a:p>
          <a:p>
            <a:pPr marL="0" marR="0" lvl="0" indent="0" algn="l" defTabSz="914400" rtl="0" eaLnBrk="0" fontAlgn="base" latinLnBrk="0" hangingPunct="0">
              <a:lnSpc>
                <a:spcPct val="100000"/>
              </a:lnSpc>
              <a:spcBef>
                <a:spcPct val="0"/>
              </a:spcBef>
              <a:spcAft>
                <a:spcPct val="0"/>
              </a:spcAft>
              <a:buClrTx/>
              <a:buSzTx/>
              <a:buFontTx/>
              <a:buAutoNum type="arabicPeriod" startAt="6"/>
            </a:pPr>
            <a:r>
              <a:rPr kumimoji="0" lang="zh-CN" altLang="zh-CN" b="1" i="0" u="none" strike="noStrike" cap="none" normalizeH="0" baseline="0" dirty="0">
                <a:ln>
                  <a:noFill/>
                </a:ln>
                <a:solidFill>
                  <a:srgbClr val="FFFF00"/>
                </a:solidFill>
                <a:effectLst/>
                <a:latin typeface="Arial" panose="020B0604020202020204" pitchFamily="34" charset="0"/>
                <a:ea typeface="-apple-system"/>
              </a:rPr>
              <a:t>返回结果给用户</a:t>
            </a:r>
            <a:r>
              <a:rPr kumimoji="0" lang="zh-CN" altLang="zh-CN" b="0" i="0" u="none" strike="noStrike" cap="none" normalizeH="0" baseline="0" dirty="0">
                <a:ln>
                  <a:noFill/>
                </a:ln>
                <a:solidFill>
                  <a:srgbClr val="FFFF00"/>
                </a:solidFill>
                <a:effectLst/>
                <a:latin typeface="Arial" panose="020B0604020202020204" pitchFamily="34" charset="0"/>
                <a:ea typeface="-apple-system"/>
              </a:rPr>
              <a:t>：</a:t>
            </a:r>
            <a:endParaRPr kumimoji="0" lang="zh-CN" altLang="zh-CN" b="0" i="0" u="none" strike="noStrike" cap="none" normalizeH="0" baseline="0" dirty="0">
              <a:ln>
                <a:noFill/>
              </a:ln>
              <a:solidFill>
                <a:srgbClr val="FFFF00"/>
              </a:solidFill>
              <a:effectLst/>
              <a:latin typeface="Arial" panose="020B0604020202020204" pitchFamily="34" charset="0"/>
              <a:ea typeface="-apple-system"/>
            </a:endParaRPr>
          </a:p>
          <a:p>
            <a:pPr marL="457200" marR="0" lvl="1" indent="0" algn="l" defTabSz="914400" rtl="0" eaLnBrk="0" fontAlgn="base" latinLnBrk="0" hangingPunct="0">
              <a:lnSpc>
                <a:spcPct val="100000"/>
              </a:lnSpc>
              <a:spcBef>
                <a:spcPct val="0"/>
              </a:spcBef>
              <a:spcAft>
                <a:spcPct val="0"/>
              </a:spcAft>
              <a:buClrTx/>
              <a:buSzTx/>
              <a:buFontTx/>
              <a:buChar char="•"/>
            </a:pPr>
            <a:r>
              <a:rPr kumimoji="0" lang="zh-CN" altLang="zh-CN" b="0" i="0" u="none" strike="noStrike" cap="none" normalizeH="0" baseline="0" dirty="0">
                <a:ln>
                  <a:noFill/>
                </a:ln>
                <a:solidFill>
                  <a:srgbClr val="FFFF00"/>
                </a:solidFill>
                <a:effectLst/>
                <a:latin typeface="Arial" panose="020B0604020202020204" pitchFamily="34" charset="0"/>
                <a:ea typeface="-apple-system"/>
              </a:rPr>
              <a:t>本地DNS服务器将查询到的IP地址返回给用户设备。</a:t>
            </a:r>
            <a:endParaRPr kumimoji="0" lang="zh-CN" altLang="zh-CN" b="0" i="0" u="none" strike="noStrike" cap="none" normalizeH="0" baseline="0" dirty="0">
              <a:ln>
                <a:noFill/>
              </a:ln>
              <a:solidFill>
                <a:srgbClr val="FFFF00"/>
              </a:solidFill>
              <a:effectLst/>
              <a:latin typeface="Arial" panose="020B0604020202020204" pitchFamily="34" charset="0"/>
              <a:ea typeface="-apple-system"/>
            </a:endParaRPr>
          </a:p>
          <a:p>
            <a:pPr marL="0" marR="0" lvl="0" indent="0" algn="l" defTabSz="914400" rtl="0" eaLnBrk="0" fontAlgn="base" latinLnBrk="0" hangingPunct="0">
              <a:lnSpc>
                <a:spcPct val="100000"/>
              </a:lnSpc>
              <a:spcBef>
                <a:spcPct val="0"/>
              </a:spcBef>
              <a:spcAft>
                <a:spcPct val="0"/>
              </a:spcAft>
              <a:buClrTx/>
              <a:buSzTx/>
              <a:buFontTx/>
              <a:buAutoNum type="arabicPeriod" startAt="7"/>
            </a:pPr>
            <a:r>
              <a:rPr kumimoji="0" lang="zh-CN" altLang="zh-CN" b="1" i="0" u="none" strike="noStrike" cap="none" normalizeH="0" baseline="0" dirty="0">
                <a:ln>
                  <a:noFill/>
                </a:ln>
                <a:solidFill>
                  <a:srgbClr val="FFFF00"/>
                </a:solidFill>
                <a:effectLst/>
                <a:latin typeface="Arial" panose="020B0604020202020204" pitchFamily="34" charset="0"/>
                <a:ea typeface="-apple-system"/>
              </a:rPr>
              <a:t>用户设备访问网站</a:t>
            </a:r>
            <a:r>
              <a:rPr kumimoji="0" lang="zh-CN" altLang="zh-CN" b="0" i="0" u="none" strike="noStrike" cap="none" normalizeH="0" baseline="0" dirty="0">
                <a:ln>
                  <a:noFill/>
                </a:ln>
                <a:solidFill>
                  <a:srgbClr val="FFFF00"/>
                </a:solidFill>
                <a:effectLst/>
                <a:latin typeface="Arial" panose="020B0604020202020204" pitchFamily="34" charset="0"/>
                <a:ea typeface="-apple-system"/>
              </a:rPr>
              <a:t>：</a:t>
            </a:r>
            <a:endParaRPr kumimoji="0" lang="zh-CN" altLang="zh-CN" b="0" i="0" u="none" strike="noStrike" cap="none" normalizeH="0" baseline="0" dirty="0">
              <a:ln>
                <a:noFill/>
              </a:ln>
              <a:solidFill>
                <a:srgbClr val="FFFF00"/>
              </a:solidFill>
              <a:effectLst/>
              <a:latin typeface="Arial" panose="020B0604020202020204" pitchFamily="34" charset="0"/>
              <a:ea typeface="-apple-system"/>
            </a:endParaRPr>
          </a:p>
          <a:p>
            <a:pPr marL="457200" marR="0" lvl="1" indent="0" algn="l" defTabSz="914400" rtl="0" eaLnBrk="0" fontAlgn="base" latinLnBrk="0" hangingPunct="0">
              <a:lnSpc>
                <a:spcPct val="100000"/>
              </a:lnSpc>
              <a:spcBef>
                <a:spcPct val="0"/>
              </a:spcBef>
              <a:spcAft>
                <a:spcPct val="0"/>
              </a:spcAft>
              <a:buClrTx/>
              <a:buSzTx/>
              <a:buFontTx/>
              <a:buChar char="•"/>
            </a:pPr>
            <a:r>
              <a:rPr kumimoji="0" lang="zh-CN" altLang="zh-CN" b="0" i="0" u="none" strike="noStrike" cap="none" normalizeH="0" baseline="0" dirty="0">
                <a:ln>
                  <a:noFill/>
                </a:ln>
                <a:solidFill>
                  <a:srgbClr val="FFFF00"/>
                </a:solidFill>
                <a:effectLst/>
                <a:latin typeface="Arial" panose="020B0604020202020204" pitchFamily="34" charset="0"/>
                <a:ea typeface="-apple-system"/>
              </a:rPr>
              <a:t>用户设备使用得到的IP地址，通过TCP/IP协议与网站服务器建立连接，开始数据传输浏览器接收到服务器返回的数据后，渲染网页，用户可以看到网页内容。</a:t>
            </a:r>
            <a:endParaRPr kumimoji="0" lang="zh-CN" altLang="zh-CN" b="0" i="0" u="none" strike="noStrike" cap="none" normalizeH="0" baseline="0" dirty="0">
              <a:ln>
                <a:noFill/>
              </a:ln>
              <a:solidFill>
                <a:srgbClr val="FFFF00"/>
              </a:solidFill>
              <a:effectLst/>
              <a:latin typeface="Arial" panose="020B0604020202020204" pitchFamily="34" charset="0"/>
              <a:ea typeface="-apple-system"/>
            </a:endParaRPr>
          </a:p>
          <a:p>
            <a:endParaRPr lang="zh-CN" altLang="en-US" sz="4000" dirty="0">
              <a:solidFill>
                <a:srgbClr val="FFFF00"/>
              </a:solidFill>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p:cNvSpPr txBox="1"/>
          <p:nvPr/>
        </p:nvSpPr>
        <p:spPr>
          <a:xfrm>
            <a:off x="1990987" y="922789"/>
            <a:ext cx="7818539" cy="1200329"/>
          </a:xfrm>
          <a:prstGeom prst="rect">
            <a:avLst/>
          </a:prstGeom>
          <a:noFill/>
        </p:spPr>
        <p:txBody>
          <a:bodyPr wrap="square" rtlCol="0">
            <a:spAutoFit/>
          </a:bodyPr>
          <a:lstStyle/>
          <a:p>
            <a:pPr marL="0" marR="0" algn="just"/>
            <a:r>
              <a:rPr lang="en-US" altLang="zh-CN" sz="1800" i="0" kern="100" spc="15" dirty="0">
                <a:solidFill>
                  <a:srgbClr val="FFFF00"/>
                </a:solidFill>
                <a:effectLst/>
                <a:latin typeface="helvetica" panose="020B0604020202020204" pitchFamily="34" charset="0"/>
                <a:ea typeface="宋体" panose="02010600030101010101" pitchFamily="2" charset="-122"/>
              </a:rPr>
              <a:t>DNS</a:t>
            </a:r>
            <a:r>
              <a:rPr lang="zh-CN" altLang="en-US" sz="1800" i="0" kern="100" spc="15" dirty="0">
                <a:solidFill>
                  <a:srgbClr val="FFFF00"/>
                </a:solidFill>
                <a:effectLst/>
                <a:latin typeface="helvetica" panose="020B0604020202020204" pitchFamily="34" charset="0"/>
                <a:ea typeface="宋体" panose="02010600030101010101" pitchFamily="2" charset="-122"/>
              </a:rPr>
              <a:t>就像一个巨大的电话簿，它将人们容易记住的域名（比如</a:t>
            </a:r>
            <a:r>
              <a:rPr lang="en-US" altLang="zh-CN" sz="1800" i="0" kern="100" spc="15" dirty="0">
                <a:solidFill>
                  <a:srgbClr val="FFFF00"/>
                </a:solidFill>
                <a:effectLst/>
                <a:latin typeface="helvetica" panose="020B0604020202020204" pitchFamily="34" charset="0"/>
                <a:ea typeface="宋体" panose="02010600030101010101" pitchFamily="2" charset="-122"/>
              </a:rPr>
              <a:t>www.example.com</a:t>
            </a:r>
            <a:r>
              <a:rPr lang="zh-CN" altLang="en-US" sz="1800" i="0" kern="100" spc="15" dirty="0">
                <a:solidFill>
                  <a:srgbClr val="FFFF00"/>
                </a:solidFill>
                <a:effectLst/>
                <a:latin typeface="helvetica" panose="020B0604020202020204" pitchFamily="34" charset="0"/>
                <a:ea typeface="宋体" panose="02010600030101010101" pitchFamily="2" charset="-122"/>
              </a:rPr>
              <a:t>）转换成计算机能理解的</a:t>
            </a:r>
            <a:r>
              <a:rPr lang="en-US" altLang="zh-CN" sz="1800" i="0" kern="100" spc="15" dirty="0">
                <a:solidFill>
                  <a:srgbClr val="FFFF00"/>
                </a:solidFill>
                <a:effectLst/>
                <a:latin typeface="helvetica" panose="020B0604020202020204" pitchFamily="34" charset="0"/>
                <a:ea typeface="宋体" panose="02010600030101010101" pitchFamily="2" charset="-122"/>
              </a:rPr>
              <a:t>IP</a:t>
            </a:r>
            <a:r>
              <a:rPr lang="zh-CN" altLang="en-US" sz="1800" i="0" kern="100" spc="15" dirty="0">
                <a:solidFill>
                  <a:srgbClr val="FFFF00"/>
                </a:solidFill>
                <a:effectLst/>
                <a:latin typeface="helvetica" panose="020B0604020202020204" pitchFamily="34" charset="0"/>
                <a:ea typeface="宋体" panose="02010600030101010101" pitchFamily="2" charset="-122"/>
              </a:rPr>
              <a:t>地址（比如</a:t>
            </a:r>
            <a:r>
              <a:rPr lang="en-US" altLang="zh-CN" sz="1800" i="0" kern="100" spc="15" dirty="0">
                <a:solidFill>
                  <a:srgbClr val="FFFF00"/>
                </a:solidFill>
                <a:effectLst/>
                <a:latin typeface="helvetica" panose="020B0604020202020204" pitchFamily="34" charset="0"/>
                <a:ea typeface="宋体" panose="02010600030101010101" pitchFamily="2" charset="-122"/>
              </a:rPr>
              <a:t>192.0.2.1</a:t>
            </a:r>
            <a:r>
              <a:rPr lang="zh-CN" altLang="en-US" sz="1800" i="0" kern="100" spc="15" dirty="0">
                <a:solidFill>
                  <a:srgbClr val="FFFF00"/>
                </a:solidFill>
                <a:effectLst/>
                <a:latin typeface="helvetica" panose="020B0604020202020204" pitchFamily="34" charset="0"/>
                <a:ea typeface="宋体" panose="02010600030101010101" pitchFamily="2" charset="-122"/>
              </a:rPr>
              <a:t>）。</a:t>
            </a:r>
            <a:endParaRPr lang="zh-CN" altLang="en-US" sz="1800" kern="100" dirty="0">
              <a:solidFill>
                <a:srgbClr val="FFFF00"/>
              </a:solidFill>
              <a:effectLst/>
              <a:latin typeface="Courier New" panose="02070309020205020404" pitchFamily="49" charset="0"/>
              <a:ea typeface="宋体" panose="02010600030101010101" pitchFamily="2" charset="-122"/>
            </a:endParaRPr>
          </a:p>
          <a:p>
            <a:pPr marL="0" marR="0" algn="just"/>
            <a:r>
              <a:rPr lang="zh-CN" altLang="en-US" sz="1800" i="0" kern="100" spc="15" dirty="0">
                <a:solidFill>
                  <a:srgbClr val="FFFF00"/>
                </a:solidFill>
                <a:effectLst/>
                <a:latin typeface="helvetica" panose="020B0604020202020204" pitchFamily="34" charset="0"/>
                <a:ea typeface="宋体" panose="02010600030101010101" pitchFamily="2" charset="-122"/>
              </a:rPr>
              <a:t>当你在浏览器中输入一个网站地址时，</a:t>
            </a:r>
            <a:r>
              <a:rPr lang="en-US" altLang="zh-CN" sz="1800" i="0" kern="100" spc="15" dirty="0">
                <a:solidFill>
                  <a:srgbClr val="FFFF00"/>
                </a:solidFill>
                <a:effectLst/>
                <a:latin typeface="helvetica" panose="020B0604020202020204" pitchFamily="34" charset="0"/>
                <a:ea typeface="宋体" panose="02010600030101010101" pitchFamily="2" charset="-122"/>
              </a:rPr>
              <a:t>DNS</a:t>
            </a:r>
            <a:r>
              <a:rPr lang="zh-CN" altLang="en-US" sz="1800" i="0" kern="100" spc="15" dirty="0">
                <a:solidFill>
                  <a:srgbClr val="FFFF00"/>
                </a:solidFill>
                <a:effectLst/>
                <a:latin typeface="helvetica" panose="020B0604020202020204" pitchFamily="34" charset="0"/>
                <a:ea typeface="宋体" panose="02010600030101010101" pitchFamily="2" charset="-122"/>
              </a:rPr>
              <a:t>服务会查找并告诉你的电脑，这个域名对应的服务器</a:t>
            </a:r>
            <a:r>
              <a:rPr lang="en-US" altLang="zh-CN" sz="1800" i="0" kern="100" spc="15" dirty="0">
                <a:solidFill>
                  <a:srgbClr val="FFFF00"/>
                </a:solidFill>
                <a:effectLst/>
                <a:latin typeface="helvetica" panose="020B0604020202020204" pitchFamily="34" charset="0"/>
                <a:ea typeface="宋体" panose="02010600030101010101" pitchFamily="2" charset="-122"/>
              </a:rPr>
              <a:t>IP</a:t>
            </a:r>
            <a:r>
              <a:rPr lang="zh-CN" altLang="en-US" sz="1800" i="0" kern="100" spc="15" dirty="0">
                <a:solidFill>
                  <a:srgbClr val="FFFF00"/>
                </a:solidFill>
                <a:effectLst/>
                <a:latin typeface="helvetica" panose="020B0604020202020204" pitchFamily="34" charset="0"/>
                <a:ea typeface="宋体" panose="02010600030101010101" pitchFamily="2" charset="-122"/>
              </a:rPr>
              <a:t>地址是什么。</a:t>
            </a:r>
            <a:endParaRPr lang="zh-CN" altLang="en-US" sz="1800" kern="100" dirty="0">
              <a:solidFill>
                <a:srgbClr val="FFFF00"/>
              </a:solidFill>
              <a:effectLst/>
              <a:latin typeface="Courier New" panose="02070309020205020404" pitchFamily="49" charset="0"/>
              <a:ea typeface="宋体" panose="02010600030101010101" pitchFamily="2" charset="-122"/>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Slide" r:id="rId1" imgW="9525" imgH="9525" progId="TCLayout.ActiveDocument.1">
                  <p:embed/>
                </p:oleObj>
              </mc:Choice>
              <mc:Fallback>
                <p:oleObj name="think-cell Slide" r:id="rId1" imgW="9525" imgH="9525" progId="TCLayout.ActiveDocument.1">
                  <p:embed/>
                  <p:pic>
                    <p:nvPicPr>
                      <p:cNvPr id="0" name="对象 2" hidden="1"/>
                      <p:cNvPicPr/>
                      <p:nvPr/>
                    </p:nvPicPr>
                    <p:blipFill>
                      <a:blip r:embed="rId2"/>
                      <a:stretch>
                        <a:fillRect/>
                      </a:stretch>
                    </p:blipFill>
                    <p:spPr>
                      <a:xfrm>
                        <a:off x="1588" y="1588"/>
                        <a:ext cx="1588" cy="1588"/>
                      </a:xfrm>
                      <a:prstGeom prst="rect">
                        <a:avLst/>
                      </a:prstGeom>
                    </p:spPr>
                  </p:pic>
                </p:oleObj>
              </mc:Fallback>
            </mc:AlternateContent>
          </a:graphicData>
        </a:graphic>
      </p:graphicFrame>
      <p:sp>
        <p:nvSpPr>
          <p:cNvPr id="4" name="矩形 3" hidden="1"/>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标题 4"/>
          <p:cNvSpPr>
            <a:spLocks noGrp="1"/>
          </p:cNvSpPr>
          <p:nvPr>
            <p:ph type="ctrTitle"/>
          </p:nvPr>
        </p:nvSpPr>
        <p:spPr/>
        <p:txBody>
          <a:bodyPr/>
          <a:lstStyle/>
          <a:p>
            <a:r>
              <a:rPr lang="en-US" altLang="zh-CN">
                <a:latin typeface="Arial" panose="020B0604020202020204" pitchFamily="34" charset="0"/>
                <a:ea typeface="微软雅黑" panose="020B0503020204020204" pitchFamily="34" charset="-122"/>
              </a:rPr>
              <a:t>Thanks</a:t>
            </a:r>
            <a:br>
              <a:rPr lang="en-US" altLang="zh-CN">
                <a:latin typeface="Arial" panose="020B0604020202020204" pitchFamily="34" charset="0"/>
                <a:ea typeface="微软雅黑" panose="020B0503020204020204" pitchFamily="34" charset="-122"/>
              </a:rPr>
            </a:br>
            <a:endParaRPr lang="zh-CN" altLang="en-US" dirty="0">
              <a:latin typeface="Arial" panose="020B0604020202020204" pitchFamily="34" charset="0"/>
              <a:ea typeface="微软雅黑" panose="020B0503020204020204" pitchFamily="34" charset="-122"/>
            </a:endParaRPr>
          </a:p>
        </p:txBody>
      </p:sp>
    </p:spTree>
  </p:cSld>
  <p:clrMapOvr>
    <a:masterClrMapping/>
  </p:clrMapOvr>
</p:sld>
</file>

<file path=ppt/tags/tag1.xml><?xml version="1.0" encoding="utf-8"?>
<p:tagLst xmlns:p="http://schemas.openxmlformats.org/presentationml/2006/main">
  <p:tag name="ISLIDE.GUIDESSETTING" val="{&quot;Id&quot;:&quot;GuidesStyle_Normal&quot;,&quot;Name&quot;:&quot;GuidesStyle_Normal&quot;,&quot;Kind&quot;:0,&quot;OldGuidesSetting&quot;:{&quot;HeaderHeight&quot;:15.0,&quot;FooterHeight&quot;:9.0,&quot;SideMargin&quot;:5.5,&quot;TopMargin&quot;:0.0,&quot;BottomMargin&quot;:0.0,&quot;IntervalMargin&quot;:1.5}}"/>
</p:tagLst>
</file>

<file path=ppt/theme/theme1.xml><?xml version="1.0" encoding="utf-8"?>
<a:theme xmlns:a="http://schemas.openxmlformats.org/drawingml/2006/main" name="Designed by OfficePLUS">
  <a:themeElements>
    <a:clrScheme name="iSlide">
      <a:dk1>
        <a:srgbClr val="000000"/>
      </a:dk1>
      <a:lt1>
        <a:srgbClr val="FFFFFF"/>
      </a:lt1>
      <a:dk2>
        <a:srgbClr val="778495"/>
      </a:dk2>
      <a:lt2>
        <a:srgbClr val="F0F0F0"/>
      </a:lt2>
      <a:accent1>
        <a:srgbClr val="0746AD"/>
      </a:accent1>
      <a:accent2>
        <a:srgbClr val="01C2EF"/>
      </a:accent2>
      <a:accent3>
        <a:srgbClr val="F7A603"/>
      </a:accent3>
      <a:accent4>
        <a:srgbClr val="6D9DDB"/>
      </a:accent4>
      <a:accent5>
        <a:srgbClr val="1F62C0"/>
      </a:accent5>
      <a:accent6>
        <a:srgbClr val="0E3260"/>
      </a:accent6>
      <a:hlink>
        <a:srgbClr val="4472C4"/>
      </a:hlink>
      <a:folHlink>
        <a:srgbClr val="BFBFBF"/>
      </a:folHlink>
    </a:clrScheme>
    <a:fontScheme name="font">
      <a:majorFont>
        <a:latin typeface="Arial"/>
        <a:ea typeface="微软雅黑"/>
        <a:cs typeface=""/>
      </a:majorFont>
      <a:minorFont>
        <a:latin typeface="Arial"/>
        <a:ea typeface="微软雅黑"/>
        <a:cs typeface=""/>
      </a:minorFont>
    </a:fontScheme>
    <a:fmtScheme name="iSlid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1459</Words>
  <Application>WPS 演示</Application>
  <PresentationFormat>宽屏</PresentationFormat>
  <Paragraphs>49</Paragraphs>
  <Slides>9</Slides>
  <Notes>0</Notes>
  <HiddenSlides>0</HiddenSlides>
  <MMClips>0</MMClips>
  <ScaleCrop>false</ScaleCrop>
  <HeadingPairs>
    <vt:vector size="8" baseType="variant">
      <vt:variant>
        <vt:lpstr>已用的字体</vt:lpstr>
      </vt:variant>
      <vt:variant>
        <vt:i4>13</vt:i4>
      </vt:variant>
      <vt:variant>
        <vt:lpstr>主题</vt:lpstr>
      </vt:variant>
      <vt:variant>
        <vt:i4>1</vt:i4>
      </vt:variant>
      <vt:variant>
        <vt:lpstr>嵌入 OLE 服务器</vt:lpstr>
      </vt:variant>
      <vt:variant>
        <vt:i4>1</vt:i4>
      </vt:variant>
      <vt:variant>
        <vt:lpstr>幻灯片标题</vt:lpstr>
      </vt:variant>
      <vt:variant>
        <vt:i4>9</vt:i4>
      </vt:variant>
    </vt:vector>
  </HeadingPairs>
  <TitlesOfParts>
    <vt:vector size="24" baseType="lpstr">
      <vt:lpstr>Arial</vt:lpstr>
      <vt:lpstr>宋体</vt:lpstr>
      <vt:lpstr>Wingdings</vt:lpstr>
      <vt:lpstr>-apple-system</vt:lpstr>
      <vt:lpstr>Segoe Print</vt:lpstr>
      <vt:lpstr>等线</vt:lpstr>
      <vt:lpstr>Times New Roman</vt:lpstr>
      <vt:lpstr>Arial Unicode MS</vt:lpstr>
      <vt:lpstr>helvetica</vt:lpstr>
      <vt:lpstr>Courier New</vt:lpstr>
      <vt:lpstr>微软雅黑</vt:lpstr>
      <vt:lpstr>Arial Unicode MS</vt:lpstr>
      <vt:lpstr>Calibri</vt:lpstr>
      <vt:lpstr>Designed by OfficePLUS</vt:lpstr>
      <vt:lpstr>TCLayout.ActiveDocument.1</vt:lpstr>
      <vt:lpstr>DNS</vt:lpstr>
      <vt:lpstr>PowerPoint 演示文稿</vt:lpstr>
      <vt:lpstr>PowerPoint 演示文稿</vt:lpstr>
      <vt:lpstr>DNS的发展</vt:lpstr>
      <vt:lpstr>PowerPoint 演示文稿</vt:lpstr>
      <vt:lpstr>DNS的运作过程</vt:lpstr>
      <vt:lpstr>PowerPoint 演示文稿</vt:lpstr>
      <vt:lpstr>PowerPoint 演示文稿</vt:lpstr>
      <vt:lpstr>Thanks And Your Slogan Here</vt:lpstr>
    </vt:vector>
  </TitlesOfParts>
  <Company>OfficePLUS</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fficePLUS PowerPoint Template</dc:title>
  <dc:creator>OfficePLUS</dc:creator>
  <cp:lastModifiedBy>WPS_1641876872</cp:lastModifiedBy>
  <cp:revision>5</cp:revision>
  <cp:lastPrinted>2024-06-16T16:00:00Z</cp:lastPrinted>
  <dcterms:created xsi:type="dcterms:W3CDTF">2024-06-16T16:00:00Z</dcterms:created>
  <dcterms:modified xsi:type="dcterms:W3CDTF">2024-12-03T07:46: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CV">
    <vt:lpwstr>A52D3498183F4B52AB6519A654A41FC7_12</vt:lpwstr>
  </property>
  <property fmtid="{D5CDD505-2E9C-101B-9397-08002B2CF9AE}" pid="3" name="KSOProductBuildVer">
    <vt:lpwstr>2052-12.1.0.18912</vt:lpwstr>
  </property>
</Properties>
</file>